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3" r:id="rId1"/>
    <p:sldMasterId id="2147483729" r:id="rId2"/>
  </p:sldMasterIdLst>
  <p:notesMasterIdLst>
    <p:notesMasterId r:id="rId12"/>
  </p:notesMasterIdLst>
  <p:handoutMasterIdLst>
    <p:handoutMasterId r:id="rId13"/>
  </p:handoutMasterIdLst>
  <p:sldIdLst>
    <p:sldId id="281" r:id="rId3"/>
    <p:sldId id="401" r:id="rId4"/>
    <p:sldId id="408" r:id="rId5"/>
    <p:sldId id="403" r:id="rId6"/>
    <p:sldId id="404" r:id="rId7"/>
    <p:sldId id="405" r:id="rId8"/>
    <p:sldId id="406" r:id="rId9"/>
    <p:sldId id="407" r:id="rId10"/>
    <p:sldId id="271" r:id="rId11"/>
  </p:sldIdLst>
  <p:sldSz cx="9906000" cy="6858000" type="A4"/>
  <p:notesSz cx="7104063" cy="10234613"/>
  <p:defaultTextStyle>
    <a:defPPr>
      <a:defRPr lang="ru-RU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51">
          <p15:clr>
            <a:srgbClr val="A4A3A4"/>
          </p15:clr>
        </p15:guide>
        <p15:guide id="2" orient="horz" pos="1818">
          <p15:clr>
            <a:srgbClr val="A4A3A4"/>
          </p15:clr>
        </p15:guide>
        <p15:guide id="3" orient="horz" pos="4143">
          <p15:clr>
            <a:srgbClr val="A4A3A4"/>
          </p15:clr>
        </p15:guide>
        <p15:guide id="4" pos="3099">
          <p15:clr>
            <a:srgbClr val="A4A3A4"/>
          </p15:clr>
        </p15:guide>
        <p15:guide id="5" pos="5941">
          <p15:clr>
            <a:srgbClr val="A4A3A4"/>
          </p15:clr>
        </p15:guide>
        <p15:guide id="6" orient="horz" pos="488">
          <p15:clr>
            <a:srgbClr val="A4A3A4"/>
          </p15:clr>
        </p15:guide>
        <p15:guide id="7" orient="horz" pos="3883">
          <p15:clr>
            <a:srgbClr val="A4A3A4"/>
          </p15:clr>
        </p15:guide>
        <p15:guide id="8" pos="207">
          <p15:clr>
            <a:srgbClr val="A4A3A4"/>
          </p15:clr>
        </p15:guide>
        <p15:guide id="9" pos="6031">
          <p15:clr>
            <a:srgbClr val="A4A3A4"/>
          </p15:clr>
        </p15:guide>
        <p15:guide id="10" orient="horz" pos="1767">
          <p15:clr>
            <a:srgbClr val="A4A3A4"/>
          </p15:clr>
        </p15:guide>
        <p15:guide id="11" pos="3110">
          <p15:clr>
            <a:srgbClr val="A4A3A4"/>
          </p15:clr>
        </p15:guide>
        <p15:guide id="12" pos="6027">
          <p15:clr>
            <a:srgbClr val="A4A3A4"/>
          </p15:clr>
        </p15:guide>
        <p15:guide id="13" pos="210">
          <p15:clr>
            <a:srgbClr val="A4A3A4"/>
          </p15:clr>
        </p15:guide>
        <p15:guide id="14" pos="60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91" userDrawn="1">
          <p15:clr>
            <a:srgbClr val="A4A3A4"/>
          </p15:clr>
        </p15:guide>
        <p15:guide id="2" pos="1546" userDrawn="1">
          <p15:clr>
            <a:srgbClr val="A4A3A4"/>
          </p15:clr>
        </p15:guide>
        <p15:guide id="3" orient="horz" pos="3230" userDrawn="1">
          <p15:clr>
            <a:srgbClr val="A4A3A4"/>
          </p15:clr>
        </p15:guide>
        <p15:guide id="4" pos="2257" userDrawn="1">
          <p15:clr>
            <a:srgbClr val="A4A3A4"/>
          </p15:clr>
        </p15:guide>
        <p15:guide id="5" orient="horz" pos="4682" userDrawn="1">
          <p15:clr>
            <a:srgbClr val="A4A3A4"/>
          </p15:clr>
        </p15:guide>
        <p15:guide id="6" orient="horz" pos="3224" userDrawn="1">
          <p15:clr>
            <a:srgbClr val="A4A3A4"/>
          </p15:clr>
        </p15:guide>
        <p15:guide id="7" pos="1532" userDrawn="1">
          <p15:clr>
            <a:srgbClr val="A4A3A4"/>
          </p15:clr>
        </p15:guide>
        <p15:guide id="8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400"/>
    <a:srgbClr val="F1EEF6"/>
    <a:srgbClr val="BFBFBF"/>
    <a:srgbClr val="DEDFE0"/>
    <a:srgbClr val="D0C7E3"/>
    <a:srgbClr val="C0C2C4"/>
    <a:srgbClr val="AB99C9"/>
    <a:srgbClr val="CBE8D9"/>
    <a:srgbClr val="9AD4B9"/>
    <a:srgbClr val="5706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59" autoAdjust="0"/>
    <p:restoredTop sz="98757" autoAdjust="0"/>
  </p:normalViewPr>
  <p:slideViewPr>
    <p:cSldViewPr snapToGrid="0" snapToObjects="1" showGuides="1">
      <p:cViewPr varScale="1">
        <p:scale>
          <a:sx n="112" d="100"/>
          <a:sy n="112" d="100"/>
        </p:scale>
        <p:origin x="1050" y="108"/>
      </p:cViewPr>
      <p:guideLst>
        <p:guide orient="horz" pos="551"/>
        <p:guide orient="horz" pos="1818"/>
        <p:guide orient="horz" pos="4143"/>
        <p:guide pos="3099"/>
        <p:guide pos="5941"/>
        <p:guide orient="horz" pos="488"/>
        <p:guide orient="horz" pos="3883"/>
        <p:guide pos="207"/>
        <p:guide pos="6031"/>
        <p:guide orient="horz" pos="1767"/>
        <p:guide pos="3110"/>
        <p:guide pos="6027"/>
        <p:guide pos="210"/>
        <p:guide pos="603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1" d="100"/>
          <a:sy n="61" d="100"/>
        </p:scale>
        <p:origin x="-2640" y="-91"/>
      </p:cViewPr>
      <p:guideLst>
        <p:guide orient="horz" pos="4691"/>
        <p:guide pos="1546"/>
        <p:guide orient="horz" pos="3230"/>
        <p:guide pos="2257"/>
        <p:guide orient="horz" pos="4682"/>
        <p:guide orient="horz" pos="3224"/>
        <p:guide pos="1532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78427" cy="511731"/>
          </a:xfrm>
          <a:prstGeom prst="rect">
            <a:avLst/>
          </a:prstGeom>
        </p:spPr>
        <p:txBody>
          <a:bodyPr vert="horz" lIns="95368" tIns="47685" rIns="95368" bIns="4768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7" y="3"/>
            <a:ext cx="3078427" cy="511731"/>
          </a:xfrm>
          <a:prstGeom prst="rect">
            <a:avLst/>
          </a:prstGeom>
        </p:spPr>
        <p:txBody>
          <a:bodyPr vert="horz" lIns="95368" tIns="47685" rIns="95368" bIns="47685" rtlCol="0"/>
          <a:lstStyle>
            <a:lvl1pPr algn="r">
              <a:defRPr sz="1200"/>
            </a:lvl1pPr>
          </a:lstStyle>
          <a:p>
            <a:fld id="{3EC0263E-C9EE-E643-B196-E6D94C448A1F}" type="datetimeFigureOut">
              <a:rPr lang="en-US" smtClean="0"/>
              <a:t>8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721110"/>
            <a:ext cx="3078427" cy="511731"/>
          </a:xfrm>
          <a:prstGeom prst="rect">
            <a:avLst/>
          </a:prstGeom>
        </p:spPr>
        <p:txBody>
          <a:bodyPr vert="horz" lIns="95368" tIns="47685" rIns="95368" bIns="4768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7" y="9721110"/>
            <a:ext cx="3078427" cy="511731"/>
          </a:xfrm>
          <a:prstGeom prst="rect">
            <a:avLst/>
          </a:prstGeom>
        </p:spPr>
        <p:txBody>
          <a:bodyPr vert="horz" lIns="95368" tIns="47685" rIns="95368" bIns="47685" rtlCol="0" anchor="b"/>
          <a:lstStyle>
            <a:lvl1pPr algn="r">
              <a:defRPr sz="1200"/>
            </a:lvl1pPr>
          </a:lstStyle>
          <a:p>
            <a:fld id="{20C38B59-0B83-7E47-B588-5AF2DCA417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9791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3078427" cy="511731"/>
          </a:xfrm>
          <a:prstGeom prst="rect">
            <a:avLst/>
          </a:prstGeom>
        </p:spPr>
        <p:txBody>
          <a:bodyPr vert="horz" lIns="95368" tIns="47685" rIns="95368" bIns="4768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3997" y="3"/>
            <a:ext cx="3078427" cy="511731"/>
          </a:xfrm>
          <a:prstGeom prst="rect">
            <a:avLst/>
          </a:prstGeom>
        </p:spPr>
        <p:txBody>
          <a:bodyPr vert="horz" lIns="95368" tIns="47685" rIns="95368" bIns="47685" rtlCol="0"/>
          <a:lstStyle>
            <a:lvl1pPr algn="r">
              <a:defRPr sz="1200"/>
            </a:lvl1pPr>
          </a:lstStyle>
          <a:p>
            <a:fld id="{A24F8853-3297-4A16-9464-7ED575D11C48}" type="datetimeFigureOut">
              <a:rPr lang="ru-RU" smtClean="0"/>
              <a:t>28.08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6763"/>
            <a:ext cx="5545137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368" tIns="47685" rIns="95368" bIns="4768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10407" y="4861445"/>
            <a:ext cx="5683250" cy="4605576"/>
          </a:xfrm>
          <a:prstGeom prst="rect">
            <a:avLst/>
          </a:prstGeom>
        </p:spPr>
        <p:txBody>
          <a:bodyPr vert="horz" lIns="95368" tIns="47685" rIns="95368" bIns="4768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721110"/>
            <a:ext cx="3078427" cy="511731"/>
          </a:xfrm>
          <a:prstGeom prst="rect">
            <a:avLst/>
          </a:prstGeom>
        </p:spPr>
        <p:txBody>
          <a:bodyPr vert="horz" lIns="95368" tIns="47685" rIns="95368" bIns="4768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3997" y="9721110"/>
            <a:ext cx="3078427" cy="511731"/>
          </a:xfrm>
          <a:prstGeom prst="rect">
            <a:avLst/>
          </a:prstGeom>
        </p:spPr>
        <p:txBody>
          <a:bodyPr vert="horz" lIns="95368" tIns="47685" rIns="95368" bIns="47685" rtlCol="0" anchor="b"/>
          <a:lstStyle>
            <a:lvl1pPr algn="r">
              <a:defRPr sz="1200"/>
            </a:lvl1pPr>
          </a:lstStyle>
          <a:p>
            <a:fld id="{47B3FA93-D4A7-47E2-BBB9-E15276C28B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38418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79463" y="766763"/>
            <a:ext cx="5545137" cy="38385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B3FA93-D4A7-47E2-BBB9-E15276C28BC5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8983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3.jpe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45939"/>
            <a:ext cx="9906000" cy="4022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0" y="-6403"/>
            <a:ext cx="9831705" cy="6031646"/>
            <a:chOff x="0" y="-6403"/>
            <a:chExt cx="9831705" cy="6031646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0" y="0"/>
              <a:ext cx="9030318" cy="6025243"/>
            </a:xfrm>
            <a:custGeom>
              <a:avLst/>
              <a:gdLst>
                <a:gd name="T0" fmla="*/ 0 w 6236"/>
                <a:gd name="T1" fmla="*/ 4030 h 4217"/>
                <a:gd name="T2" fmla="*/ 121 w 6236"/>
                <a:gd name="T3" fmla="*/ 4062 h 4217"/>
                <a:gd name="T4" fmla="*/ 359 w 6236"/>
                <a:gd name="T5" fmla="*/ 4117 h 4217"/>
                <a:gd name="T6" fmla="*/ 601 w 6236"/>
                <a:gd name="T7" fmla="*/ 4160 h 4217"/>
                <a:gd name="T8" fmla="*/ 849 w 6236"/>
                <a:gd name="T9" fmla="*/ 4193 h 4217"/>
                <a:gd name="T10" fmla="*/ 1101 w 6236"/>
                <a:gd name="T11" fmla="*/ 4212 h 4217"/>
                <a:gd name="T12" fmla="*/ 1354 w 6236"/>
                <a:gd name="T13" fmla="*/ 4217 h 4217"/>
                <a:gd name="T14" fmla="*/ 1607 w 6236"/>
                <a:gd name="T15" fmla="*/ 4212 h 4217"/>
                <a:gd name="T16" fmla="*/ 1859 w 6236"/>
                <a:gd name="T17" fmla="*/ 4193 h 4217"/>
                <a:gd name="T18" fmla="*/ 2105 w 6236"/>
                <a:gd name="T19" fmla="*/ 4160 h 4217"/>
                <a:gd name="T20" fmla="*/ 2349 w 6236"/>
                <a:gd name="T21" fmla="*/ 4117 h 4217"/>
                <a:gd name="T22" fmla="*/ 2587 w 6236"/>
                <a:gd name="T23" fmla="*/ 4062 h 4217"/>
                <a:gd name="T24" fmla="*/ 2821 w 6236"/>
                <a:gd name="T25" fmla="*/ 3996 h 4217"/>
                <a:gd name="T26" fmla="*/ 3050 w 6236"/>
                <a:gd name="T27" fmla="*/ 3918 h 4217"/>
                <a:gd name="T28" fmla="*/ 3275 w 6236"/>
                <a:gd name="T29" fmla="*/ 3830 h 4217"/>
                <a:gd name="T30" fmla="*/ 3493 w 6236"/>
                <a:gd name="T31" fmla="*/ 3731 h 4217"/>
                <a:gd name="T32" fmla="*/ 3706 w 6236"/>
                <a:gd name="T33" fmla="*/ 3623 h 4217"/>
                <a:gd name="T34" fmla="*/ 3912 w 6236"/>
                <a:gd name="T35" fmla="*/ 3504 h 4217"/>
                <a:gd name="T36" fmla="*/ 4113 w 6236"/>
                <a:gd name="T37" fmla="*/ 3376 h 4217"/>
                <a:gd name="T38" fmla="*/ 4306 w 6236"/>
                <a:gd name="T39" fmla="*/ 3238 h 4217"/>
                <a:gd name="T40" fmla="*/ 4493 w 6236"/>
                <a:gd name="T41" fmla="*/ 3092 h 4217"/>
                <a:gd name="T42" fmla="*/ 4671 w 6236"/>
                <a:gd name="T43" fmla="*/ 2937 h 4217"/>
                <a:gd name="T44" fmla="*/ 4843 w 6236"/>
                <a:gd name="T45" fmla="*/ 2772 h 4217"/>
                <a:gd name="T46" fmla="*/ 5005 w 6236"/>
                <a:gd name="T47" fmla="*/ 2602 h 4217"/>
                <a:gd name="T48" fmla="*/ 5160 w 6236"/>
                <a:gd name="T49" fmla="*/ 2423 h 4217"/>
                <a:gd name="T50" fmla="*/ 5308 w 6236"/>
                <a:gd name="T51" fmla="*/ 2235 h 4217"/>
                <a:gd name="T52" fmla="*/ 5446 w 6236"/>
                <a:gd name="T53" fmla="*/ 2042 h 4217"/>
                <a:gd name="T54" fmla="*/ 5573 w 6236"/>
                <a:gd name="T55" fmla="*/ 1842 h 4217"/>
                <a:gd name="T56" fmla="*/ 5692 w 6236"/>
                <a:gd name="T57" fmla="*/ 1636 h 4217"/>
                <a:gd name="T58" fmla="*/ 5801 w 6236"/>
                <a:gd name="T59" fmla="*/ 1422 h 4217"/>
                <a:gd name="T60" fmla="*/ 5900 w 6236"/>
                <a:gd name="T61" fmla="*/ 1205 h 4217"/>
                <a:gd name="T62" fmla="*/ 5989 w 6236"/>
                <a:gd name="T63" fmla="*/ 980 h 4217"/>
                <a:gd name="T64" fmla="*/ 6066 w 6236"/>
                <a:gd name="T65" fmla="*/ 751 h 4217"/>
                <a:gd name="T66" fmla="*/ 6132 w 6236"/>
                <a:gd name="T67" fmla="*/ 516 h 4217"/>
                <a:gd name="T68" fmla="*/ 6187 w 6236"/>
                <a:gd name="T69" fmla="*/ 278 h 4217"/>
                <a:gd name="T70" fmla="*/ 6231 w 6236"/>
                <a:gd name="T71" fmla="*/ 34 h 4217"/>
                <a:gd name="T72" fmla="*/ 0 w 6236"/>
                <a:gd name="T73" fmla="*/ 0 h 4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36" h="4217">
                  <a:moveTo>
                    <a:pt x="0" y="0"/>
                  </a:moveTo>
                  <a:lnTo>
                    <a:pt x="0" y="4030"/>
                  </a:lnTo>
                  <a:lnTo>
                    <a:pt x="4" y="4030"/>
                  </a:lnTo>
                  <a:lnTo>
                    <a:pt x="121" y="4062"/>
                  </a:lnTo>
                  <a:lnTo>
                    <a:pt x="240" y="4092"/>
                  </a:lnTo>
                  <a:lnTo>
                    <a:pt x="359" y="4117"/>
                  </a:lnTo>
                  <a:lnTo>
                    <a:pt x="480" y="4142"/>
                  </a:lnTo>
                  <a:lnTo>
                    <a:pt x="601" y="4160"/>
                  </a:lnTo>
                  <a:lnTo>
                    <a:pt x="726" y="4178"/>
                  </a:lnTo>
                  <a:lnTo>
                    <a:pt x="849" y="4193"/>
                  </a:lnTo>
                  <a:lnTo>
                    <a:pt x="974" y="4204"/>
                  </a:lnTo>
                  <a:lnTo>
                    <a:pt x="1101" y="4212"/>
                  </a:lnTo>
                  <a:lnTo>
                    <a:pt x="1227" y="4217"/>
                  </a:lnTo>
                  <a:lnTo>
                    <a:pt x="1354" y="4217"/>
                  </a:lnTo>
                  <a:lnTo>
                    <a:pt x="1481" y="4217"/>
                  </a:lnTo>
                  <a:lnTo>
                    <a:pt x="1607" y="4212"/>
                  </a:lnTo>
                  <a:lnTo>
                    <a:pt x="1734" y="4204"/>
                  </a:lnTo>
                  <a:lnTo>
                    <a:pt x="1859" y="4193"/>
                  </a:lnTo>
                  <a:lnTo>
                    <a:pt x="1982" y="4178"/>
                  </a:lnTo>
                  <a:lnTo>
                    <a:pt x="2105" y="4160"/>
                  </a:lnTo>
                  <a:lnTo>
                    <a:pt x="2227" y="4142"/>
                  </a:lnTo>
                  <a:lnTo>
                    <a:pt x="2349" y="4117"/>
                  </a:lnTo>
                  <a:lnTo>
                    <a:pt x="2468" y="4092"/>
                  </a:lnTo>
                  <a:lnTo>
                    <a:pt x="2587" y="4062"/>
                  </a:lnTo>
                  <a:lnTo>
                    <a:pt x="2704" y="4030"/>
                  </a:lnTo>
                  <a:lnTo>
                    <a:pt x="2821" y="3996"/>
                  </a:lnTo>
                  <a:lnTo>
                    <a:pt x="2937" y="3958"/>
                  </a:lnTo>
                  <a:lnTo>
                    <a:pt x="3050" y="3918"/>
                  </a:lnTo>
                  <a:lnTo>
                    <a:pt x="3163" y="3875"/>
                  </a:lnTo>
                  <a:lnTo>
                    <a:pt x="3275" y="3830"/>
                  </a:lnTo>
                  <a:lnTo>
                    <a:pt x="3385" y="3782"/>
                  </a:lnTo>
                  <a:lnTo>
                    <a:pt x="3493" y="3731"/>
                  </a:lnTo>
                  <a:lnTo>
                    <a:pt x="3600" y="3678"/>
                  </a:lnTo>
                  <a:lnTo>
                    <a:pt x="3706" y="3623"/>
                  </a:lnTo>
                  <a:lnTo>
                    <a:pt x="3810" y="3565"/>
                  </a:lnTo>
                  <a:lnTo>
                    <a:pt x="3912" y="3504"/>
                  </a:lnTo>
                  <a:lnTo>
                    <a:pt x="4013" y="3440"/>
                  </a:lnTo>
                  <a:lnTo>
                    <a:pt x="4113" y="3376"/>
                  </a:lnTo>
                  <a:lnTo>
                    <a:pt x="4209" y="3308"/>
                  </a:lnTo>
                  <a:lnTo>
                    <a:pt x="4306" y="3238"/>
                  </a:lnTo>
                  <a:lnTo>
                    <a:pt x="4400" y="3166"/>
                  </a:lnTo>
                  <a:lnTo>
                    <a:pt x="4493" y="3092"/>
                  </a:lnTo>
                  <a:lnTo>
                    <a:pt x="4582" y="3014"/>
                  </a:lnTo>
                  <a:lnTo>
                    <a:pt x="4671" y="2937"/>
                  </a:lnTo>
                  <a:lnTo>
                    <a:pt x="4758" y="2856"/>
                  </a:lnTo>
                  <a:lnTo>
                    <a:pt x="4843" y="2772"/>
                  </a:lnTo>
                  <a:lnTo>
                    <a:pt x="4926" y="2687"/>
                  </a:lnTo>
                  <a:lnTo>
                    <a:pt x="5005" y="2602"/>
                  </a:lnTo>
                  <a:lnTo>
                    <a:pt x="5085" y="2513"/>
                  </a:lnTo>
                  <a:lnTo>
                    <a:pt x="5160" y="2423"/>
                  </a:lnTo>
                  <a:lnTo>
                    <a:pt x="5236" y="2330"/>
                  </a:lnTo>
                  <a:lnTo>
                    <a:pt x="5308" y="2235"/>
                  </a:lnTo>
                  <a:lnTo>
                    <a:pt x="5378" y="2141"/>
                  </a:lnTo>
                  <a:lnTo>
                    <a:pt x="5446" y="2042"/>
                  </a:lnTo>
                  <a:lnTo>
                    <a:pt x="5510" y="1944"/>
                  </a:lnTo>
                  <a:lnTo>
                    <a:pt x="5573" y="1842"/>
                  </a:lnTo>
                  <a:lnTo>
                    <a:pt x="5635" y="1740"/>
                  </a:lnTo>
                  <a:lnTo>
                    <a:pt x="5692" y="1636"/>
                  </a:lnTo>
                  <a:lnTo>
                    <a:pt x="5748" y="1530"/>
                  </a:lnTo>
                  <a:lnTo>
                    <a:pt x="5801" y="1422"/>
                  </a:lnTo>
                  <a:lnTo>
                    <a:pt x="5852" y="1314"/>
                  </a:lnTo>
                  <a:lnTo>
                    <a:pt x="5900" y="1205"/>
                  </a:lnTo>
                  <a:lnTo>
                    <a:pt x="5945" y="1093"/>
                  </a:lnTo>
                  <a:lnTo>
                    <a:pt x="5989" y="980"/>
                  </a:lnTo>
                  <a:lnTo>
                    <a:pt x="6028" y="866"/>
                  </a:lnTo>
                  <a:lnTo>
                    <a:pt x="6066" y="751"/>
                  </a:lnTo>
                  <a:lnTo>
                    <a:pt x="6100" y="634"/>
                  </a:lnTo>
                  <a:lnTo>
                    <a:pt x="6132" y="516"/>
                  </a:lnTo>
                  <a:lnTo>
                    <a:pt x="6161" y="397"/>
                  </a:lnTo>
                  <a:lnTo>
                    <a:pt x="6187" y="278"/>
                  </a:lnTo>
                  <a:lnTo>
                    <a:pt x="6210" y="157"/>
                  </a:lnTo>
                  <a:lnTo>
                    <a:pt x="6231" y="34"/>
                  </a:lnTo>
                  <a:lnTo>
                    <a:pt x="62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15" name="Группа 14"/>
            <p:cNvGrpSpPr/>
            <p:nvPr userDrawn="1"/>
          </p:nvGrpSpPr>
          <p:grpSpPr>
            <a:xfrm>
              <a:off x="7999274" y="-6403"/>
              <a:ext cx="1832431" cy="1472099"/>
              <a:chOff x="7999274" y="-6403"/>
              <a:chExt cx="1832431" cy="1472099"/>
            </a:xfrm>
          </p:grpSpPr>
          <p:sp>
            <p:nvSpPr>
              <p:cNvPr id="9" name="Freeform 6"/>
              <p:cNvSpPr>
                <a:spLocks/>
              </p:cNvSpPr>
              <p:nvPr userDrawn="1"/>
            </p:nvSpPr>
            <p:spPr bwMode="auto">
              <a:xfrm>
                <a:off x="7999274" y="-6402"/>
                <a:ext cx="1832431" cy="1472098"/>
              </a:xfrm>
              <a:custGeom>
                <a:avLst/>
                <a:gdLst>
                  <a:gd name="T0" fmla="*/ 12 w 5023"/>
                  <a:gd name="T1" fmla="*/ 1760 h 4013"/>
                  <a:gd name="T2" fmla="*/ 79 w 5023"/>
                  <a:gd name="T3" fmla="*/ 2130 h 4013"/>
                  <a:gd name="T4" fmla="*/ 197 w 5023"/>
                  <a:gd name="T5" fmla="*/ 2480 h 4013"/>
                  <a:gd name="T6" fmla="*/ 364 w 5023"/>
                  <a:gd name="T7" fmla="*/ 2804 h 4013"/>
                  <a:gd name="T8" fmla="*/ 573 w 5023"/>
                  <a:gd name="T9" fmla="*/ 3100 h 4013"/>
                  <a:gd name="T10" fmla="*/ 823 w 5023"/>
                  <a:gd name="T11" fmla="*/ 3362 h 4013"/>
                  <a:gd name="T12" fmla="*/ 1108 w 5023"/>
                  <a:gd name="T13" fmla="*/ 3584 h 4013"/>
                  <a:gd name="T14" fmla="*/ 1423 w 5023"/>
                  <a:gd name="T15" fmla="*/ 3765 h 4013"/>
                  <a:gd name="T16" fmla="*/ 1764 w 5023"/>
                  <a:gd name="T17" fmla="*/ 3901 h 4013"/>
                  <a:gd name="T18" fmla="*/ 2130 w 5023"/>
                  <a:gd name="T19" fmla="*/ 3984 h 4013"/>
                  <a:gd name="T20" fmla="*/ 2513 w 5023"/>
                  <a:gd name="T21" fmla="*/ 4013 h 4013"/>
                  <a:gd name="T22" fmla="*/ 2895 w 5023"/>
                  <a:gd name="T23" fmla="*/ 3984 h 4013"/>
                  <a:gd name="T24" fmla="*/ 3259 w 5023"/>
                  <a:gd name="T25" fmla="*/ 3901 h 4013"/>
                  <a:gd name="T26" fmla="*/ 3600 w 5023"/>
                  <a:gd name="T27" fmla="*/ 3765 h 4013"/>
                  <a:gd name="T28" fmla="*/ 3916 w 5023"/>
                  <a:gd name="T29" fmla="*/ 3584 h 4013"/>
                  <a:gd name="T30" fmla="*/ 4201 w 5023"/>
                  <a:gd name="T31" fmla="*/ 3362 h 4013"/>
                  <a:gd name="T32" fmla="*/ 4451 w 5023"/>
                  <a:gd name="T33" fmla="*/ 3100 h 4013"/>
                  <a:gd name="T34" fmla="*/ 4661 w 5023"/>
                  <a:gd name="T35" fmla="*/ 2804 h 4013"/>
                  <a:gd name="T36" fmla="*/ 4827 w 5023"/>
                  <a:gd name="T37" fmla="*/ 2480 h 4013"/>
                  <a:gd name="T38" fmla="*/ 4944 w 5023"/>
                  <a:gd name="T39" fmla="*/ 2130 h 4013"/>
                  <a:gd name="T40" fmla="*/ 5011 w 5023"/>
                  <a:gd name="T41" fmla="*/ 1760 h 4013"/>
                  <a:gd name="T42" fmla="*/ 5023 w 5023"/>
                  <a:gd name="T43" fmla="*/ 1451 h 4013"/>
                  <a:gd name="T44" fmla="*/ 5016 w 5023"/>
                  <a:gd name="T45" fmla="*/ 1294 h 4013"/>
                  <a:gd name="T46" fmla="*/ 4998 w 5023"/>
                  <a:gd name="T47" fmla="*/ 1140 h 4013"/>
                  <a:gd name="T48" fmla="*/ 4972 w 5023"/>
                  <a:gd name="T49" fmla="*/ 989 h 4013"/>
                  <a:gd name="T50" fmla="*/ 4935 w 5023"/>
                  <a:gd name="T51" fmla="*/ 842 h 4013"/>
                  <a:gd name="T52" fmla="*/ 4892 w 5023"/>
                  <a:gd name="T53" fmla="*/ 697 h 4013"/>
                  <a:gd name="T54" fmla="*/ 4839 w 5023"/>
                  <a:gd name="T55" fmla="*/ 557 h 4013"/>
                  <a:gd name="T56" fmla="*/ 4780 w 5023"/>
                  <a:gd name="T57" fmla="*/ 420 h 4013"/>
                  <a:gd name="T58" fmla="*/ 4711 w 5023"/>
                  <a:gd name="T59" fmla="*/ 289 h 4013"/>
                  <a:gd name="T60" fmla="*/ 4635 w 5023"/>
                  <a:gd name="T61" fmla="*/ 161 h 4013"/>
                  <a:gd name="T62" fmla="*/ 4553 w 5023"/>
                  <a:gd name="T63" fmla="*/ 39 h 4013"/>
                  <a:gd name="T64" fmla="*/ 471 w 5023"/>
                  <a:gd name="T65" fmla="*/ 39 h 4013"/>
                  <a:gd name="T66" fmla="*/ 389 w 5023"/>
                  <a:gd name="T67" fmla="*/ 161 h 4013"/>
                  <a:gd name="T68" fmla="*/ 312 w 5023"/>
                  <a:gd name="T69" fmla="*/ 289 h 4013"/>
                  <a:gd name="T70" fmla="*/ 245 w 5023"/>
                  <a:gd name="T71" fmla="*/ 420 h 4013"/>
                  <a:gd name="T72" fmla="*/ 184 w 5023"/>
                  <a:gd name="T73" fmla="*/ 557 h 4013"/>
                  <a:gd name="T74" fmla="*/ 133 w 5023"/>
                  <a:gd name="T75" fmla="*/ 697 h 4013"/>
                  <a:gd name="T76" fmla="*/ 88 w 5023"/>
                  <a:gd name="T77" fmla="*/ 842 h 4013"/>
                  <a:gd name="T78" fmla="*/ 52 w 5023"/>
                  <a:gd name="T79" fmla="*/ 989 h 4013"/>
                  <a:gd name="T80" fmla="*/ 26 w 5023"/>
                  <a:gd name="T81" fmla="*/ 1140 h 4013"/>
                  <a:gd name="T82" fmla="*/ 9 w 5023"/>
                  <a:gd name="T83" fmla="*/ 1294 h 4013"/>
                  <a:gd name="T84" fmla="*/ 0 w 5023"/>
                  <a:gd name="T85" fmla="*/ 1451 h 4013"/>
                  <a:gd name="T86" fmla="*/ 0 w 5023"/>
                  <a:gd name="T87" fmla="*/ 1518 h 4013"/>
                  <a:gd name="T88" fmla="*/ 0 w 5023"/>
                  <a:gd name="T89" fmla="*/ 1516 h 4013"/>
                  <a:gd name="T90" fmla="*/ 0 w 5023"/>
                  <a:gd name="T91" fmla="*/ 1507 h 4013"/>
                  <a:gd name="T92" fmla="*/ 0 w 5023"/>
                  <a:gd name="T93" fmla="*/ 1501 h 4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23" h="4013">
                    <a:moveTo>
                      <a:pt x="0" y="1502"/>
                    </a:moveTo>
                    <a:lnTo>
                      <a:pt x="3" y="1632"/>
                    </a:lnTo>
                    <a:lnTo>
                      <a:pt x="12" y="1760"/>
                    </a:lnTo>
                    <a:lnTo>
                      <a:pt x="29" y="1885"/>
                    </a:lnTo>
                    <a:lnTo>
                      <a:pt x="50" y="2010"/>
                    </a:lnTo>
                    <a:lnTo>
                      <a:pt x="79" y="2130"/>
                    </a:lnTo>
                    <a:lnTo>
                      <a:pt x="113" y="2250"/>
                    </a:lnTo>
                    <a:lnTo>
                      <a:pt x="152" y="2366"/>
                    </a:lnTo>
                    <a:lnTo>
                      <a:pt x="197" y="2480"/>
                    </a:lnTo>
                    <a:lnTo>
                      <a:pt x="248" y="2591"/>
                    </a:lnTo>
                    <a:lnTo>
                      <a:pt x="303" y="2699"/>
                    </a:lnTo>
                    <a:lnTo>
                      <a:pt x="364" y="2804"/>
                    </a:lnTo>
                    <a:lnTo>
                      <a:pt x="430" y="2906"/>
                    </a:lnTo>
                    <a:lnTo>
                      <a:pt x="498" y="3005"/>
                    </a:lnTo>
                    <a:lnTo>
                      <a:pt x="573" y="3100"/>
                    </a:lnTo>
                    <a:lnTo>
                      <a:pt x="652" y="3191"/>
                    </a:lnTo>
                    <a:lnTo>
                      <a:pt x="736" y="3278"/>
                    </a:lnTo>
                    <a:lnTo>
                      <a:pt x="823" y="3362"/>
                    </a:lnTo>
                    <a:lnTo>
                      <a:pt x="914" y="3441"/>
                    </a:lnTo>
                    <a:lnTo>
                      <a:pt x="1009" y="3514"/>
                    </a:lnTo>
                    <a:lnTo>
                      <a:pt x="1108" y="3584"/>
                    </a:lnTo>
                    <a:lnTo>
                      <a:pt x="1210" y="3649"/>
                    </a:lnTo>
                    <a:lnTo>
                      <a:pt x="1315" y="3710"/>
                    </a:lnTo>
                    <a:lnTo>
                      <a:pt x="1423" y="3765"/>
                    </a:lnTo>
                    <a:lnTo>
                      <a:pt x="1534" y="3815"/>
                    </a:lnTo>
                    <a:lnTo>
                      <a:pt x="1649" y="3861"/>
                    </a:lnTo>
                    <a:lnTo>
                      <a:pt x="1764" y="3901"/>
                    </a:lnTo>
                    <a:lnTo>
                      <a:pt x="1885" y="3934"/>
                    </a:lnTo>
                    <a:lnTo>
                      <a:pt x="2005" y="3963"/>
                    </a:lnTo>
                    <a:lnTo>
                      <a:pt x="2130" y="3984"/>
                    </a:lnTo>
                    <a:lnTo>
                      <a:pt x="2255" y="4001"/>
                    </a:lnTo>
                    <a:lnTo>
                      <a:pt x="2383" y="4010"/>
                    </a:lnTo>
                    <a:lnTo>
                      <a:pt x="2513" y="4013"/>
                    </a:lnTo>
                    <a:lnTo>
                      <a:pt x="2642" y="4010"/>
                    </a:lnTo>
                    <a:lnTo>
                      <a:pt x="2768" y="4001"/>
                    </a:lnTo>
                    <a:lnTo>
                      <a:pt x="2895" y="3984"/>
                    </a:lnTo>
                    <a:lnTo>
                      <a:pt x="3018" y="3963"/>
                    </a:lnTo>
                    <a:lnTo>
                      <a:pt x="3140" y="3934"/>
                    </a:lnTo>
                    <a:lnTo>
                      <a:pt x="3259" y="3901"/>
                    </a:lnTo>
                    <a:lnTo>
                      <a:pt x="3376" y="3861"/>
                    </a:lnTo>
                    <a:lnTo>
                      <a:pt x="3489" y="3815"/>
                    </a:lnTo>
                    <a:lnTo>
                      <a:pt x="3600" y="3765"/>
                    </a:lnTo>
                    <a:lnTo>
                      <a:pt x="3710" y="3710"/>
                    </a:lnTo>
                    <a:lnTo>
                      <a:pt x="3815" y="3649"/>
                    </a:lnTo>
                    <a:lnTo>
                      <a:pt x="3916" y="3584"/>
                    </a:lnTo>
                    <a:lnTo>
                      <a:pt x="4015" y="3514"/>
                    </a:lnTo>
                    <a:lnTo>
                      <a:pt x="4109" y="3441"/>
                    </a:lnTo>
                    <a:lnTo>
                      <a:pt x="4201" y="3362"/>
                    </a:lnTo>
                    <a:lnTo>
                      <a:pt x="4288" y="3278"/>
                    </a:lnTo>
                    <a:lnTo>
                      <a:pt x="4371" y="3191"/>
                    </a:lnTo>
                    <a:lnTo>
                      <a:pt x="4451" y="3100"/>
                    </a:lnTo>
                    <a:lnTo>
                      <a:pt x="4525" y="3005"/>
                    </a:lnTo>
                    <a:lnTo>
                      <a:pt x="4595" y="2906"/>
                    </a:lnTo>
                    <a:lnTo>
                      <a:pt x="4661" y="2804"/>
                    </a:lnTo>
                    <a:lnTo>
                      <a:pt x="4720" y="2699"/>
                    </a:lnTo>
                    <a:lnTo>
                      <a:pt x="4777" y="2591"/>
                    </a:lnTo>
                    <a:lnTo>
                      <a:pt x="4827" y="2480"/>
                    </a:lnTo>
                    <a:lnTo>
                      <a:pt x="4871" y="2366"/>
                    </a:lnTo>
                    <a:lnTo>
                      <a:pt x="4911" y="2250"/>
                    </a:lnTo>
                    <a:lnTo>
                      <a:pt x="4944" y="2130"/>
                    </a:lnTo>
                    <a:lnTo>
                      <a:pt x="4973" y="2010"/>
                    </a:lnTo>
                    <a:lnTo>
                      <a:pt x="4995" y="1885"/>
                    </a:lnTo>
                    <a:lnTo>
                      <a:pt x="5011" y="1760"/>
                    </a:lnTo>
                    <a:lnTo>
                      <a:pt x="5020" y="1632"/>
                    </a:lnTo>
                    <a:lnTo>
                      <a:pt x="5023" y="1502"/>
                    </a:lnTo>
                    <a:lnTo>
                      <a:pt x="5023" y="1451"/>
                    </a:lnTo>
                    <a:lnTo>
                      <a:pt x="5022" y="1397"/>
                    </a:lnTo>
                    <a:lnTo>
                      <a:pt x="5019" y="1346"/>
                    </a:lnTo>
                    <a:lnTo>
                      <a:pt x="5016" y="1294"/>
                    </a:lnTo>
                    <a:lnTo>
                      <a:pt x="5011" y="1242"/>
                    </a:lnTo>
                    <a:lnTo>
                      <a:pt x="5005" y="1190"/>
                    </a:lnTo>
                    <a:lnTo>
                      <a:pt x="4998" y="1140"/>
                    </a:lnTo>
                    <a:lnTo>
                      <a:pt x="4990" y="1090"/>
                    </a:lnTo>
                    <a:lnTo>
                      <a:pt x="4981" y="1038"/>
                    </a:lnTo>
                    <a:lnTo>
                      <a:pt x="4972" y="989"/>
                    </a:lnTo>
                    <a:lnTo>
                      <a:pt x="4961" y="939"/>
                    </a:lnTo>
                    <a:lnTo>
                      <a:pt x="4949" y="890"/>
                    </a:lnTo>
                    <a:lnTo>
                      <a:pt x="4935" y="842"/>
                    </a:lnTo>
                    <a:lnTo>
                      <a:pt x="4921" y="793"/>
                    </a:lnTo>
                    <a:lnTo>
                      <a:pt x="4908" y="744"/>
                    </a:lnTo>
                    <a:lnTo>
                      <a:pt x="4892" y="697"/>
                    </a:lnTo>
                    <a:lnTo>
                      <a:pt x="4876" y="650"/>
                    </a:lnTo>
                    <a:lnTo>
                      <a:pt x="4857" y="603"/>
                    </a:lnTo>
                    <a:lnTo>
                      <a:pt x="4839" y="557"/>
                    </a:lnTo>
                    <a:lnTo>
                      <a:pt x="4821" y="511"/>
                    </a:lnTo>
                    <a:lnTo>
                      <a:pt x="4800" y="466"/>
                    </a:lnTo>
                    <a:lnTo>
                      <a:pt x="4780" y="420"/>
                    </a:lnTo>
                    <a:lnTo>
                      <a:pt x="4757" y="376"/>
                    </a:lnTo>
                    <a:lnTo>
                      <a:pt x="4734" y="332"/>
                    </a:lnTo>
                    <a:lnTo>
                      <a:pt x="4711" y="289"/>
                    </a:lnTo>
                    <a:lnTo>
                      <a:pt x="4687" y="246"/>
                    </a:lnTo>
                    <a:lnTo>
                      <a:pt x="4662" y="204"/>
                    </a:lnTo>
                    <a:lnTo>
                      <a:pt x="4635" y="161"/>
                    </a:lnTo>
                    <a:lnTo>
                      <a:pt x="4609" y="120"/>
                    </a:lnTo>
                    <a:lnTo>
                      <a:pt x="4582" y="79"/>
                    </a:lnTo>
                    <a:lnTo>
                      <a:pt x="4553" y="39"/>
                    </a:lnTo>
                    <a:lnTo>
                      <a:pt x="4524" y="0"/>
                    </a:lnTo>
                    <a:lnTo>
                      <a:pt x="500" y="0"/>
                    </a:lnTo>
                    <a:lnTo>
                      <a:pt x="471" y="39"/>
                    </a:lnTo>
                    <a:lnTo>
                      <a:pt x="442" y="79"/>
                    </a:lnTo>
                    <a:lnTo>
                      <a:pt x="414" y="120"/>
                    </a:lnTo>
                    <a:lnTo>
                      <a:pt x="389" y="161"/>
                    </a:lnTo>
                    <a:lnTo>
                      <a:pt x="363" y="204"/>
                    </a:lnTo>
                    <a:lnTo>
                      <a:pt x="337" y="246"/>
                    </a:lnTo>
                    <a:lnTo>
                      <a:pt x="312" y="289"/>
                    </a:lnTo>
                    <a:lnTo>
                      <a:pt x="290" y="332"/>
                    </a:lnTo>
                    <a:lnTo>
                      <a:pt x="267" y="376"/>
                    </a:lnTo>
                    <a:lnTo>
                      <a:pt x="245" y="420"/>
                    </a:lnTo>
                    <a:lnTo>
                      <a:pt x="224" y="466"/>
                    </a:lnTo>
                    <a:lnTo>
                      <a:pt x="204" y="511"/>
                    </a:lnTo>
                    <a:lnTo>
                      <a:pt x="184" y="557"/>
                    </a:lnTo>
                    <a:lnTo>
                      <a:pt x="166" y="603"/>
                    </a:lnTo>
                    <a:lnTo>
                      <a:pt x="149" y="650"/>
                    </a:lnTo>
                    <a:lnTo>
                      <a:pt x="133" y="697"/>
                    </a:lnTo>
                    <a:lnTo>
                      <a:pt x="116" y="744"/>
                    </a:lnTo>
                    <a:lnTo>
                      <a:pt x="102" y="793"/>
                    </a:lnTo>
                    <a:lnTo>
                      <a:pt x="88" y="842"/>
                    </a:lnTo>
                    <a:lnTo>
                      <a:pt x="75" y="890"/>
                    </a:lnTo>
                    <a:lnTo>
                      <a:pt x="64" y="939"/>
                    </a:lnTo>
                    <a:lnTo>
                      <a:pt x="52" y="989"/>
                    </a:lnTo>
                    <a:lnTo>
                      <a:pt x="43" y="1038"/>
                    </a:lnTo>
                    <a:lnTo>
                      <a:pt x="34" y="1090"/>
                    </a:lnTo>
                    <a:lnTo>
                      <a:pt x="26" y="1140"/>
                    </a:lnTo>
                    <a:lnTo>
                      <a:pt x="20" y="1190"/>
                    </a:lnTo>
                    <a:lnTo>
                      <a:pt x="14" y="1242"/>
                    </a:lnTo>
                    <a:lnTo>
                      <a:pt x="9" y="1294"/>
                    </a:lnTo>
                    <a:lnTo>
                      <a:pt x="5" y="1346"/>
                    </a:lnTo>
                    <a:lnTo>
                      <a:pt x="2" y="1397"/>
                    </a:lnTo>
                    <a:lnTo>
                      <a:pt x="0" y="1451"/>
                    </a:lnTo>
                    <a:lnTo>
                      <a:pt x="0" y="1502"/>
                    </a:lnTo>
                    <a:lnTo>
                      <a:pt x="0" y="1515"/>
                    </a:lnTo>
                    <a:lnTo>
                      <a:pt x="0" y="1518"/>
                    </a:lnTo>
                    <a:lnTo>
                      <a:pt x="0" y="1519"/>
                    </a:lnTo>
                    <a:lnTo>
                      <a:pt x="0" y="1518"/>
                    </a:lnTo>
                    <a:lnTo>
                      <a:pt x="0" y="1516"/>
                    </a:lnTo>
                    <a:lnTo>
                      <a:pt x="0" y="1515"/>
                    </a:lnTo>
                    <a:lnTo>
                      <a:pt x="0" y="1512"/>
                    </a:lnTo>
                    <a:lnTo>
                      <a:pt x="0" y="1507"/>
                    </a:lnTo>
                    <a:lnTo>
                      <a:pt x="0" y="1504"/>
                    </a:lnTo>
                    <a:lnTo>
                      <a:pt x="0" y="1502"/>
                    </a:lnTo>
                    <a:lnTo>
                      <a:pt x="0" y="1501"/>
                    </a:lnTo>
                    <a:lnTo>
                      <a:pt x="0" y="1499"/>
                    </a:lnTo>
                    <a:lnTo>
                      <a:pt x="0" y="1502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" name="Freeform 7"/>
              <p:cNvSpPr>
                <a:spLocks noEditPoints="1"/>
              </p:cNvSpPr>
              <p:nvPr userDrawn="1"/>
            </p:nvSpPr>
            <p:spPr bwMode="auto">
              <a:xfrm>
                <a:off x="8846210" y="-6402"/>
                <a:ext cx="704220" cy="1198509"/>
              </a:xfrm>
              <a:custGeom>
                <a:avLst/>
                <a:gdLst>
                  <a:gd name="T0" fmla="*/ 381 w 1929"/>
                  <a:gd name="T1" fmla="*/ 1573 h 3269"/>
                  <a:gd name="T2" fmla="*/ 381 w 1929"/>
                  <a:gd name="T3" fmla="*/ 1573 h 3269"/>
                  <a:gd name="T4" fmla="*/ 381 w 1929"/>
                  <a:gd name="T5" fmla="*/ 1573 h 3269"/>
                  <a:gd name="T6" fmla="*/ 375 w 1929"/>
                  <a:gd name="T7" fmla="*/ 1608 h 3269"/>
                  <a:gd name="T8" fmla="*/ 348 w 1929"/>
                  <a:gd name="T9" fmla="*/ 1664 h 3269"/>
                  <a:gd name="T10" fmla="*/ 299 w 1929"/>
                  <a:gd name="T11" fmla="*/ 1700 h 3269"/>
                  <a:gd name="T12" fmla="*/ 237 w 1929"/>
                  <a:gd name="T13" fmla="*/ 1716 h 3269"/>
                  <a:gd name="T14" fmla="*/ 13 w 1929"/>
                  <a:gd name="T15" fmla="*/ 1717 h 3269"/>
                  <a:gd name="T16" fmla="*/ 5 w 1929"/>
                  <a:gd name="T17" fmla="*/ 1722 h 3269"/>
                  <a:gd name="T18" fmla="*/ 0 w 1929"/>
                  <a:gd name="T19" fmla="*/ 1729 h 3269"/>
                  <a:gd name="T20" fmla="*/ 31 w 1929"/>
                  <a:gd name="T21" fmla="*/ 3264 h 3269"/>
                  <a:gd name="T22" fmla="*/ 605 w 1929"/>
                  <a:gd name="T23" fmla="*/ 3212 h 3269"/>
                  <a:gd name="T24" fmla="*/ 1286 w 1929"/>
                  <a:gd name="T25" fmla="*/ 2865 h 3269"/>
                  <a:gd name="T26" fmla="*/ 1756 w 1929"/>
                  <a:gd name="T27" fmla="*/ 2268 h 3269"/>
                  <a:gd name="T28" fmla="*/ 1929 w 1929"/>
                  <a:gd name="T29" fmla="*/ 1502 h 3269"/>
                  <a:gd name="T30" fmla="*/ 1855 w 1929"/>
                  <a:gd name="T31" fmla="*/ 989 h 3269"/>
                  <a:gd name="T32" fmla="*/ 1641 w 1929"/>
                  <a:gd name="T33" fmla="*/ 536 h 3269"/>
                  <a:gd name="T34" fmla="*/ 1314 w 1929"/>
                  <a:gd name="T35" fmla="*/ 163 h 3269"/>
                  <a:gd name="T36" fmla="*/ 1381 w 1929"/>
                  <a:gd name="T37" fmla="*/ 2025 h 3269"/>
                  <a:gd name="T38" fmla="*/ 1477 w 1929"/>
                  <a:gd name="T39" fmla="*/ 2046 h 3269"/>
                  <a:gd name="T40" fmla="*/ 1551 w 1929"/>
                  <a:gd name="T41" fmla="*/ 2105 h 3269"/>
                  <a:gd name="T42" fmla="*/ 1594 w 1929"/>
                  <a:gd name="T43" fmla="*/ 2191 h 3269"/>
                  <a:gd name="T44" fmla="*/ 1597 w 1929"/>
                  <a:gd name="T45" fmla="*/ 2290 h 3269"/>
                  <a:gd name="T46" fmla="*/ 1558 w 1929"/>
                  <a:gd name="T47" fmla="*/ 2378 h 3269"/>
                  <a:gd name="T48" fmla="*/ 1486 w 1929"/>
                  <a:gd name="T49" fmla="*/ 2439 h 3269"/>
                  <a:gd name="T50" fmla="*/ 1391 w 1929"/>
                  <a:gd name="T51" fmla="*/ 2465 h 3269"/>
                  <a:gd name="T52" fmla="*/ 1294 w 1929"/>
                  <a:gd name="T53" fmla="*/ 2448 h 3269"/>
                  <a:gd name="T54" fmla="*/ 1218 w 1929"/>
                  <a:gd name="T55" fmla="*/ 2393 h 3269"/>
                  <a:gd name="T56" fmla="*/ 1171 w 1929"/>
                  <a:gd name="T57" fmla="*/ 2311 h 3269"/>
                  <a:gd name="T58" fmla="*/ 1163 w 1929"/>
                  <a:gd name="T59" fmla="*/ 2212 h 3269"/>
                  <a:gd name="T60" fmla="*/ 1198 w 1929"/>
                  <a:gd name="T61" fmla="*/ 2122 h 3269"/>
                  <a:gd name="T62" fmla="*/ 1267 w 1929"/>
                  <a:gd name="T63" fmla="*/ 2057 h 3269"/>
                  <a:gd name="T64" fmla="*/ 1358 w 1929"/>
                  <a:gd name="T65" fmla="*/ 2026 h 3269"/>
                  <a:gd name="T66" fmla="*/ 928 w 1929"/>
                  <a:gd name="T67" fmla="*/ 2034 h 3269"/>
                  <a:gd name="T68" fmla="*/ 1012 w 1929"/>
                  <a:gd name="T69" fmla="*/ 2083 h 3269"/>
                  <a:gd name="T70" fmla="*/ 1067 w 1929"/>
                  <a:gd name="T71" fmla="*/ 2159 h 3269"/>
                  <a:gd name="T72" fmla="*/ 1084 w 1929"/>
                  <a:gd name="T73" fmla="*/ 2256 h 3269"/>
                  <a:gd name="T74" fmla="*/ 1058 w 1929"/>
                  <a:gd name="T75" fmla="*/ 2351 h 3269"/>
                  <a:gd name="T76" fmla="*/ 995 w 1929"/>
                  <a:gd name="T77" fmla="*/ 2422 h 3269"/>
                  <a:gd name="T78" fmla="*/ 907 w 1929"/>
                  <a:gd name="T79" fmla="*/ 2462 h 3269"/>
                  <a:gd name="T80" fmla="*/ 808 w 1929"/>
                  <a:gd name="T81" fmla="*/ 2459 h 3269"/>
                  <a:gd name="T82" fmla="*/ 723 w 1929"/>
                  <a:gd name="T83" fmla="*/ 2416 h 3269"/>
                  <a:gd name="T84" fmla="*/ 665 w 1929"/>
                  <a:gd name="T85" fmla="*/ 2341 h 3269"/>
                  <a:gd name="T86" fmla="*/ 642 w 1929"/>
                  <a:gd name="T87" fmla="*/ 2246 h 3269"/>
                  <a:gd name="T88" fmla="*/ 665 w 1929"/>
                  <a:gd name="T89" fmla="*/ 2150 h 3269"/>
                  <a:gd name="T90" fmla="*/ 723 w 1929"/>
                  <a:gd name="T91" fmla="*/ 2075 h 3269"/>
                  <a:gd name="T92" fmla="*/ 808 w 1929"/>
                  <a:gd name="T93" fmla="*/ 2032 h 3269"/>
                  <a:gd name="T94" fmla="*/ 311 w 1929"/>
                  <a:gd name="T95" fmla="*/ 2463 h 3269"/>
                  <a:gd name="T96" fmla="*/ 221 w 1929"/>
                  <a:gd name="T97" fmla="*/ 2428 h 3269"/>
                  <a:gd name="T98" fmla="*/ 156 w 1929"/>
                  <a:gd name="T99" fmla="*/ 2360 h 3269"/>
                  <a:gd name="T100" fmla="*/ 125 w 1929"/>
                  <a:gd name="T101" fmla="*/ 2268 h 3269"/>
                  <a:gd name="T102" fmla="*/ 138 w 1929"/>
                  <a:gd name="T103" fmla="*/ 2169 h 3269"/>
                  <a:gd name="T104" fmla="*/ 189 w 1929"/>
                  <a:gd name="T105" fmla="*/ 2089 h 3269"/>
                  <a:gd name="T106" fmla="*/ 269 w 1929"/>
                  <a:gd name="T107" fmla="*/ 2038 h 3269"/>
                  <a:gd name="T108" fmla="*/ 368 w 1929"/>
                  <a:gd name="T109" fmla="*/ 2026 h 3269"/>
                  <a:gd name="T110" fmla="*/ 461 w 1929"/>
                  <a:gd name="T111" fmla="*/ 2057 h 3269"/>
                  <a:gd name="T112" fmla="*/ 529 w 1929"/>
                  <a:gd name="T113" fmla="*/ 2122 h 3269"/>
                  <a:gd name="T114" fmla="*/ 564 w 1929"/>
                  <a:gd name="T115" fmla="*/ 2212 h 3269"/>
                  <a:gd name="T116" fmla="*/ 557 w 1929"/>
                  <a:gd name="T117" fmla="*/ 2311 h 3269"/>
                  <a:gd name="T118" fmla="*/ 509 w 1929"/>
                  <a:gd name="T119" fmla="*/ 2393 h 3269"/>
                  <a:gd name="T120" fmla="*/ 432 w 1929"/>
                  <a:gd name="T121" fmla="*/ 2448 h 3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29" h="3269">
                    <a:moveTo>
                      <a:pt x="381" y="1573"/>
                    </a:move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0" y="1580"/>
                    </a:lnTo>
                    <a:lnTo>
                      <a:pt x="380" y="1586"/>
                    </a:lnTo>
                    <a:lnTo>
                      <a:pt x="378" y="1594"/>
                    </a:lnTo>
                    <a:lnTo>
                      <a:pt x="378" y="1601"/>
                    </a:lnTo>
                    <a:lnTo>
                      <a:pt x="375" y="1608"/>
                    </a:lnTo>
                    <a:lnTo>
                      <a:pt x="374" y="1615"/>
                    </a:lnTo>
                    <a:lnTo>
                      <a:pt x="372" y="1621"/>
                    </a:lnTo>
                    <a:lnTo>
                      <a:pt x="369" y="1627"/>
                    </a:lnTo>
                    <a:lnTo>
                      <a:pt x="366" y="1635"/>
                    </a:lnTo>
                    <a:lnTo>
                      <a:pt x="363" y="1641"/>
                    </a:lnTo>
                    <a:lnTo>
                      <a:pt x="360" y="1647"/>
                    </a:lnTo>
                    <a:lnTo>
                      <a:pt x="355" y="1652"/>
                    </a:lnTo>
                    <a:lnTo>
                      <a:pt x="351" y="1658"/>
                    </a:lnTo>
                    <a:lnTo>
                      <a:pt x="348" y="1664"/>
                    </a:lnTo>
                    <a:lnTo>
                      <a:pt x="343" y="1668"/>
                    </a:lnTo>
                    <a:lnTo>
                      <a:pt x="339" y="1673"/>
                    </a:lnTo>
                    <a:lnTo>
                      <a:pt x="333" y="1678"/>
                    </a:lnTo>
                    <a:lnTo>
                      <a:pt x="328" y="1682"/>
                    </a:lnTo>
                    <a:lnTo>
                      <a:pt x="322" y="1687"/>
                    </a:lnTo>
                    <a:lnTo>
                      <a:pt x="317" y="1691"/>
                    </a:lnTo>
                    <a:lnTo>
                      <a:pt x="311" y="1694"/>
                    </a:lnTo>
                    <a:lnTo>
                      <a:pt x="305" y="1697"/>
                    </a:lnTo>
                    <a:lnTo>
                      <a:pt x="299" y="1700"/>
                    </a:lnTo>
                    <a:lnTo>
                      <a:pt x="293" y="1703"/>
                    </a:lnTo>
                    <a:lnTo>
                      <a:pt x="285" y="1707"/>
                    </a:lnTo>
                    <a:lnTo>
                      <a:pt x="279" y="1708"/>
                    </a:lnTo>
                    <a:lnTo>
                      <a:pt x="273" y="1711"/>
                    </a:lnTo>
                    <a:lnTo>
                      <a:pt x="266" y="1713"/>
                    </a:lnTo>
                    <a:lnTo>
                      <a:pt x="258" y="1713"/>
                    </a:lnTo>
                    <a:lnTo>
                      <a:pt x="252" y="1714"/>
                    </a:lnTo>
                    <a:lnTo>
                      <a:pt x="244" y="1714"/>
                    </a:lnTo>
                    <a:lnTo>
                      <a:pt x="237" y="1716"/>
                    </a:lnTo>
                    <a:lnTo>
                      <a:pt x="20" y="1716"/>
                    </a:lnTo>
                    <a:lnTo>
                      <a:pt x="19" y="1716"/>
                    </a:lnTo>
                    <a:lnTo>
                      <a:pt x="17" y="1716"/>
                    </a:lnTo>
                    <a:lnTo>
                      <a:pt x="17" y="1716"/>
                    </a:lnTo>
                    <a:lnTo>
                      <a:pt x="16" y="1716"/>
                    </a:lnTo>
                    <a:lnTo>
                      <a:pt x="14" y="1716"/>
                    </a:lnTo>
                    <a:lnTo>
                      <a:pt x="14" y="1716"/>
                    </a:lnTo>
                    <a:lnTo>
                      <a:pt x="13" y="1716"/>
                    </a:lnTo>
                    <a:lnTo>
                      <a:pt x="13" y="1717"/>
                    </a:lnTo>
                    <a:lnTo>
                      <a:pt x="11" y="1717"/>
                    </a:lnTo>
                    <a:lnTo>
                      <a:pt x="10" y="1717"/>
                    </a:lnTo>
                    <a:lnTo>
                      <a:pt x="10" y="1717"/>
                    </a:lnTo>
                    <a:lnTo>
                      <a:pt x="8" y="1719"/>
                    </a:lnTo>
                    <a:lnTo>
                      <a:pt x="8" y="1719"/>
                    </a:lnTo>
                    <a:lnTo>
                      <a:pt x="6" y="1719"/>
                    </a:lnTo>
                    <a:lnTo>
                      <a:pt x="6" y="1720"/>
                    </a:lnTo>
                    <a:lnTo>
                      <a:pt x="5" y="1720"/>
                    </a:lnTo>
                    <a:lnTo>
                      <a:pt x="5" y="1722"/>
                    </a:lnTo>
                    <a:lnTo>
                      <a:pt x="5" y="1722"/>
                    </a:lnTo>
                    <a:lnTo>
                      <a:pt x="3" y="1723"/>
                    </a:lnTo>
                    <a:lnTo>
                      <a:pt x="3" y="1723"/>
                    </a:lnTo>
                    <a:lnTo>
                      <a:pt x="3" y="1725"/>
                    </a:lnTo>
                    <a:lnTo>
                      <a:pt x="2" y="1725"/>
                    </a:lnTo>
                    <a:lnTo>
                      <a:pt x="2" y="1726"/>
                    </a:lnTo>
                    <a:lnTo>
                      <a:pt x="2" y="1726"/>
                    </a:lnTo>
                    <a:lnTo>
                      <a:pt x="0" y="1728"/>
                    </a:lnTo>
                    <a:lnTo>
                      <a:pt x="0" y="1729"/>
                    </a:lnTo>
                    <a:lnTo>
                      <a:pt x="0" y="1729"/>
                    </a:lnTo>
                    <a:lnTo>
                      <a:pt x="0" y="1731"/>
                    </a:lnTo>
                    <a:lnTo>
                      <a:pt x="0" y="1731"/>
                    </a:lnTo>
                    <a:lnTo>
                      <a:pt x="0" y="1732"/>
                    </a:lnTo>
                    <a:lnTo>
                      <a:pt x="0" y="1734"/>
                    </a:lnTo>
                    <a:lnTo>
                      <a:pt x="0" y="1734"/>
                    </a:lnTo>
                    <a:lnTo>
                      <a:pt x="0" y="3261"/>
                    </a:lnTo>
                    <a:lnTo>
                      <a:pt x="5" y="3261"/>
                    </a:lnTo>
                    <a:lnTo>
                      <a:pt x="31" y="3264"/>
                    </a:lnTo>
                    <a:lnTo>
                      <a:pt x="80" y="3267"/>
                    </a:lnTo>
                    <a:lnTo>
                      <a:pt x="122" y="3269"/>
                    </a:lnTo>
                    <a:lnTo>
                      <a:pt x="157" y="3269"/>
                    </a:lnTo>
                    <a:lnTo>
                      <a:pt x="163" y="3269"/>
                    </a:lnTo>
                    <a:lnTo>
                      <a:pt x="255" y="3266"/>
                    </a:lnTo>
                    <a:lnTo>
                      <a:pt x="343" y="3260"/>
                    </a:lnTo>
                    <a:lnTo>
                      <a:pt x="432" y="3249"/>
                    </a:lnTo>
                    <a:lnTo>
                      <a:pt x="520" y="3232"/>
                    </a:lnTo>
                    <a:lnTo>
                      <a:pt x="605" y="3212"/>
                    </a:lnTo>
                    <a:lnTo>
                      <a:pt x="689" y="3190"/>
                    </a:lnTo>
                    <a:lnTo>
                      <a:pt x="771" y="3162"/>
                    </a:lnTo>
                    <a:lnTo>
                      <a:pt x="851" y="3130"/>
                    </a:lnTo>
                    <a:lnTo>
                      <a:pt x="930" y="3095"/>
                    </a:lnTo>
                    <a:lnTo>
                      <a:pt x="1006" y="3056"/>
                    </a:lnTo>
                    <a:lnTo>
                      <a:pt x="1079" y="3013"/>
                    </a:lnTo>
                    <a:lnTo>
                      <a:pt x="1151" y="2967"/>
                    </a:lnTo>
                    <a:lnTo>
                      <a:pt x="1221" y="2917"/>
                    </a:lnTo>
                    <a:lnTo>
                      <a:pt x="1286" y="2865"/>
                    </a:lnTo>
                    <a:lnTo>
                      <a:pt x="1352" y="2810"/>
                    </a:lnTo>
                    <a:lnTo>
                      <a:pt x="1413" y="2751"/>
                    </a:lnTo>
                    <a:lnTo>
                      <a:pt x="1471" y="2690"/>
                    </a:lnTo>
                    <a:lnTo>
                      <a:pt x="1527" y="2626"/>
                    </a:lnTo>
                    <a:lnTo>
                      <a:pt x="1579" y="2559"/>
                    </a:lnTo>
                    <a:lnTo>
                      <a:pt x="1628" y="2491"/>
                    </a:lnTo>
                    <a:lnTo>
                      <a:pt x="1675" y="2418"/>
                    </a:lnTo>
                    <a:lnTo>
                      <a:pt x="1716" y="2345"/>
                    </a:lnTo>
                    <a:lnTo>
                      <a:pt x="1756" y="2268"/>
                    </a:lnTo>
                    <a:lnTo>
                      <a:pt x="1791" y="2191"/>
                    </a:lnTo>
                    <a:lnTo>
                      <a:pt x="1823" y="2110"/>
                    </a:lnTo>
                    <a:lnTo>
                      <a:pt x="1850" y="2028"/>
                    </a:lnTo>
                    <a:lnTo>
                      <a:pt x="1874" y="1944"/>
                    </a:lnTo>
                    <a:lnTo>
                      <a:pt x="1894" y="1859"/>
                    </a:lnTo>
                    <a:lnTo>
                      <a:pt x="1910" y="1772"/>
                    </a:lnTo>
                    <a:lnTo>
                      <a:pt x="1920" y="1684"/>
                    </a:lnTo>
                    <a:lnTo>
                      <a:pt x="1928" y="1594"/>
                    </a:lnTo>
                    <a:lnTo>
                      <a:pt x="1929" y="1502"/>
                    </a:lnTo>
                    <a:lnTo>
                      <a:pt x="1929" y="1443"/>
                    </a:lnTo>
                    <a:lnTo>
                      <a:pt x="1926" y="1385"/>
                    </a:lnTo>
                    <a:lnTo>
                      <a:pt x="1922" y="1326"/>
                    </a:lnTo>
                    <a:lnTo>
                      <a:pt x="1914" y="1268"/>
                    </a:lnTo>
                    <a:lnTo>
                      <a:pt x="1906" y="1212"/>
                    </a:lnTo>
                    <a:lnTo>
                      <a:pt x="1896" y="1155"/>
                    </a:lnTo>
                    <a:lnTo>
                      <a:pt x="1884" y="1099"/>
                    </a:lnTo>
                    <a:lnTo>
                      <a:pt x="1870" y="1044"/>
                    </a:lnTo>
                    <a:lnTo>
                      <a:pt x="1855" y="989"/>
                    </a:lnTo>
                    <a:lnTo>
                      <a:pt x="1836" y="936"/>
                    </a:lnTo>
                    <a:lnTo>
                      <a:pt x="1818" y="883"/>
                    </a:lnTo>
                    <a:lnTo>
                      <a:pt x="1797" y="829"/>
                    </a:lnTo>
                    <a:lnTo>
                      <a:pt x="1775" y="779"/>
                    </a:lnTo>
                    <a:lnTo>
                      <a:pt x="1751" y="727"/>
                    </a:lnTo>
                    <a:lnTo>
                      <a:pt x="1725" y="679"/>
                    </a:lnTo>
                    <a:lnTo>
                      <a:pt x="1699" y="630"/>
                    </a:lnTo>
                    <a:lnTo>
                      <a:pt x="1670" y="581"/>
                    </a:lnTo>
                    <a:lnTo>
                      <a:pt x="1641" y="536"/>
                    </a:lnTo>
                    <a:lnTo>
                      <a:pt x="1609" y="490"/>
                    </a:lnTo>
                    <a:lnTo>
                      <a:pt x="1577" y="444"/>
                    </a:lnTo>
                    <a:lnTo>
                      <a:pt x="1544" y="400"/>
                    </a:lnTo>
                    <a:lnTo>
                      <a:pt x="1509" y="357"/>
                    </a:lnTo>
                    <a:lnTo>
                      <a:pt x="1472" y="316"/>
                    </a:lnTo>
                    <a:lnTo>
                      <a:pt x="1434" y="277"/>
                    </a:lnTo>
                    <a:lnTo>
                      <a:pt x="1395" y="237"/>
                    </a:lnTo>
                    <a:lnTo>
                      <a:pt x="1355" y="199"/>
                    </a:lnTo>
                    <a:lnTo>
                      <a:pt x="1314" y="163"/>
                    </a:lnTo>
                    <a:lnTo>
                      <a:pt x="1271" y="128"/>
                    </a:lnTo>
                    <a:lnTo>
                      <a:pt x="1227" y="94"/>
                    </a:lnTo>
                    <a:lnTo>
                      <a:pt x="1183" y="61"/>
                    </a:lnTo>
                    <a:lnTo>
                      <a:pt x="1137" y="30"/>
                    </a:lnTo>
                    <a:lnTo>
                      <a:pt x="1090" y="0"/>
                    </a:lnTo>
                    <a:lnTo>
                      <a:pt x="381" y="0"/>
                    </a:lnTo>
                    <a:lnTo>
                      <a:pt x="381" y="1522"/>
                    </a:lnTo>
                    <a:lnTo>
                      <a:pt x="381" y="1573"/>
                    </a:lnTo>
                    <a:close/>
                    <a:moveTo>
                      <a:pt x="1381" y="2025"/>
                    </a:moveTo>
                    <a:lnTo>
                      <a:pt x="1391" y="2025"/>
                    </a:lnTo>
                    <a:lnTo>
                      <a:pt x="1404" y="2026"/>
                    </a:lnTo>
                    <a:lnTo>
                      <a:pt x="1414" y="2028"/>
                    </a:lnTo>
                    <a:lnTo>
                      <a:pt x="1425" y="2029"/>
                    </a:lnTo>
                    <a:lnTo>
                      <a:pt x="1436" y="2032"/>
                    </a:lnTo>
                    <a:lnTo>
                      <a:pt x="1446" y="2034"/>
                    </a:lnTo>
                    <a:lnTo>
                      <a:pt x="1457" y="2038"/>
                    </a:lnTo>
                    <a:lnTo>
                      <a:pt x="1466" y="2041"/>
                    </a:lnTo>
                    <a:lnTo>
                      <a:pt x="1477" y="2046"/>
                    </a:lnTo>
                    <a:lnTo>
                      <a:pt x="1486" y="2051"/>
                    </a:lnTo>
                    <a:lnTo>
                      <a:pt x="1495" y="2057"/>
                    </a:lnTo>
                    <a:lnTo>
                      <a:pt x="1504" y="2063"/>
                    </a:lnTo>
                    <a:lnTo>
                      <a:pt x="1513" y="2069"/>
                    </a:lnTo>
                    <a:lnTo>
                      <a:pt x="1521" y="2075"/>
                    </a:lnTo>
                    <a:lnTo>
                      <a:pt x="1529" y="2083"/>
                    </a:lnTo>
                    <a:lnTo>
                      <a:pt x="1536" y="2089"/>
                    </a:lnTo>
                    <a:lnTo>
                      <a:pt x="1544" y="2096"/>
                    </a:lnTo>
                    <a:lnTo>
                      <a:pt x="1551" y="2105"/>
                    </a:lnTo>
                    <a:lnTo>
                      <a:pt x="1558" y="2113"/>
                    </a:lnTo>
                    <a:lnTo>
                      <a:pt x="1564" y="2122"/>
                    </a:lnTo>
                    <a:lnTo>
                      <a:pt x="1570" y="2131"/>
                    </a:lnTo>
                    <a:lnTo>
                      <a:pt x="1574" y="2140"/>
                    </a:lnTo>
                    <a:lnTo>
                      <a:pt x="1580" y="2150"/>
                    </a:lnTo>
                    <a:lnTo>
                      <a:pt x="1583" y="2159"/>
                    </a:lnTo>
                    <a:lnTo>
                      <a:pt x="1588" y="2169"/>
                    </a:lnTo>
                    <a:lnTo>
                      <a:pt x="1591" y="2180"/>
                    </a:lnTo>
                    <a:lnTo>
                      <a:pt x="1594" y="2191"/>
                    </a:lnTo>
                    <a:lnTo>
                      <a:pt x="1597" y="2201"/>
                    </a:lnTo>
                    <a:lnTo>
                      <a:pt x="1599" y="2212"/>
                    </a:lnTo>
                    <a:lnTo>
                      <a:pt x="1600" y="2223"/>
                    </a:lnTo>
                    <a:lnTo>
                      <a:pt x="1602" y="2233"/>
                    </a:lnTo>
                    <a:lnTo>
                      <a:pt x="1602" y="2246"/>
                    </a:lnTo>
                    <a:lnTo>
                      <a:pt x="1602" y="2256"/>
                    </a:lnTo>
                    <a:lnTo>
                      <a:pt x="1600" y="2268"/>
                    </a:lnTo>
                    <a:lnTo>
                      <a:pt x="1599" y="2279"/>
                    </a:lnTo>
                    <a:lnTo>
                      <a:pt x="1597" y="2290"/>
                    </a:lnTo>
                    <a:lnTo>
                      <a:pt x="1594" y="2300"/>
                    </a:lnTo>
                    <a:lnTo>
                      <a:pt x="1591" y="2311"/>
                    </a:lnTo>
                    <a:lnTo>
                      <a:pt x="1588" y="2322"/>
                    </a:lnTo>
                    <a:lnTo>
                      <a:pt x="1583" y="2331"/>
                    </a:lnTo>
                    <a:lnTo>
                      <a:pt x="1580" y="2341"/>
                    </a:lnTo>
                    <a:lnTo>
                      <a:pt x="1574" y="2351"/>
                    </a:lnTo>
                    <a:lnTo>
                      <a:pt x="1570" y="2360"/>
                    </a:lnTo>
                    <a:lnTo>
                      <a:pt x="1564" y="2369"/>
                    </a:lnTo>
                    <a:lnTo>
                      <a:pt x="1558" y="2378"/>
                    </a:lnTo>
                    <a:lnTo>
                      <a:pt x="1551" y="2386"/>
                    </a:lnTo>
                    <a:lnTo>
                      <a:pt x="1544" y="2393"/>
                    </a:lnTo>
                    <a:lnTo>
                      <a:pt x="1536" y="2401"/>
                    </a:lnTo>
                    <a:lnTo>
                      <a:pt x="1529" y="2408"/>
                    </a:lnTo>
                    <a:lnTo>
                      <a:pt x="1521" y="2416"/>
                    </a:lnTo>
                    <a:lnTo>
                      <a:pt x="1513" y="2422"/>
                    </a:lnTo>
                    <a:lnTo>
                      <a:pt x="1504" y="2428"/>
                    </a:lnTo>
                    <a:lnTo>
                      <a:pt x="1495" y="2434"/>
                    </a:lnTo>
                    <a:lnTo>
                      <a:pt x="1486" y="2439"/>
                    </a:lnTo>
                    <a:lnTo>
                      <a:pt x="1477" y="2443"/>
                    </a:lnTo>
                    <a:lnTo>
                      <a:pt x="1466" y="2448"/>
                    </a:lnTo>
                    <a:lnTo>
                      <a:pt x="1457" y="2453"/>
                    </a:lnTo>
                    <a:lnTo>
                      <a:pt x="1446" y="2456"/>
                    </a:lnTo>
                    <a:lnTo>
                      <a:pt x="1436" y="2459"/>
                    </a:lnTo>
                    <a:lnTo>
                      <a:pt x="1425" y="2462"/>
                    </a:lnTo>
                    <a:lnTo>
                      <a:pt x="1414" y="2463"/>
                    </a:lnTo>
                    <a:lnTo>
                      <a:pt x="1404" y="2465"/>
                    </a:lnTo>
                    <a:lnTo>
                      <a:pt x="1391" y="2465"/>
                    </a:lnTo>
                    <a:lnTo>
                      <a:pt x="1381" y="2466"/>
                    </a:lnTo>
                    <a:lnTo>
                      <a:pt x="1369" y="2465"/>
                    </a:lnTo>
                    <a:lnTo>
                      <a:pt x="1358" y="2465"/>
                    </a:lnTo>
                    <a:lnTo>
                      <a:pt x="1347" y="2463"/>
                    </a:lnTo>
                    <a:lnTo>
                      <a:pt x="1337" y="2462"/>
                    </a:lnTo>
                    <a:lnTo>
                      <a:pt x="1326" y="2459"/>
                    </a:lnTo>
                    <a:lnTo>
                      <a:pt x="1315" y="2456"/>
                    </a:lnTo>
                    <a:lnTo>
                      <a:pt x="1305" y="2453"/>
                    </a:lnTo>
                    <a:lnTo>
                      <a:pt x="1294" y="2448"/>
                    </a:lnTo>
                    <a:lnTo>
                      <a:pt x="1285" y="2443"/>
                    </a:lnTo>
                    <a:lnTo>
                      <a:pt x="1276" y="2439"/>
                    </a:lnTo>
                    <a:lnTo>
                      <a:pt x="1267" y="2434"/>
                    </a:lnTo>
                    <a:lnTo>
                      <a:pt x="1257" y="2428"/>
                    </a:lnTo>
                    <a:lnTo>
                      <a:pt x="1248" y="2422"/>
                    </a:lnTo>
                    <a:lnTo>
                      <a:pt x="1241" y="2416"/>
                    </a:lnTo>
                    <a:lnTo>
                      <a:pt x="1231" y="2408"/>
                    </a:lnTo>
                    <a:lnTo>
                      <a:pt x="1224" y="2401"/>
                    </a:lnTo>
                    <a:lnTo>
                      <a:pt x="1218" y="2393"/>
                    </a:lnTo>
                    <a:lnTo>
                      <a:pt x="1210" y="2386"/>
                    </a:lnTo>
                    <a:lnTo>
                      <a:pt x="1204" y="2378"/>
                    </a:lnTo>
                    <a:lnTo>
                      <a:pt x="1198" y="2369"/>
                    </a:lnTo>
                    <a:lnTo>
                      <a:pt x="1192" y="2360"/>
                    </a:lnTo>
                    <a:lnTo>
                      <a:pt x="1187" y="2351"/>
                    </a:lnTo>
                    <a:lnTo>
                      <a:pt x="1181" y="2341"/>
                    </a:lnTo>
                    <a:lnTo>
                      <a:pt x="1177" y="2331"/>
                    </a:lnTo>
                    <a:lnTo>
                      <a:pt x="1174" y="2322"/>
                    </a:lnTo>
                    <a:lnTo>
                      <a:pt x="1171" y="2311"/>
                    </a:lnTo>
                    <a:lnTo>
                      <a:pt x="1168" y="2300"/>
                    </a:lnTo>
                    <a:lnTo>
                      <a:pt x="1164" y="2290"/>
                    </a:lnTo>
                    <a:lnTo>
                      <a:pt x="1163" y="2279"/>
                    </a:lnTo>
                    <a:lnTo>
                      <a:pt x="1161" y="2268"/>
                    </a:lnTo>
                    <a:lnTo>
                      <a:pt x="1160" y="2256"/>
                    </a:lnTo>
                    <a:lnTo>
                      <a:pt x="1160" y="2246"/>
                    </a:lnTo>
                    <a:lnTo>
                      <a:pt x="1160" y="2233"/>
                    </a:lnTo>
                    <a:lnTo>
                      <a:pt x="1161" y="2223"/>
                    </a:lnTo>
                    <a:lnTo>
                      <a:pt x="1163" y="2212"/>
                    </a:lnTo>
                    <a:lnTo>
                      <a:pt x="1164" y="2201"/>
                    </a:lnTo>
                    <a:lnTo>
                      <a:pt x="1168" y="2191"/>
                    </a:lnTo>
                    <a:lnTo>
                      <a:pt x="1171" y="2180"/>
                    </a:lnTo>
                    <a:lnTo>
                      <a:pt x="1174" y="2169"/>
                    </a:lnTo>
                    <a:lnTo>
                      <a:pt x="1177" y="2159"/>
                    </a:lnTo>
                    <a:lnTo>
                      <a:pt x="1181" y="2150"/>
                    </a:lnTo>
                    <a:lnTo>
                      <a:pt x="1187" y="2140"/>
                    </a:lnTo>
                    <a:lnTo>
                      <a:pt x="1192" y="2131"/>
                    </a:lnTo>
                    <a:lnTo>
                      <a:pt x="1198" y="2122"/>
                    </a:lnTo>
                    <a:lnTo>
                      <a:pt x="1204" y="2113"/>
                    </a:lnTo>
                    <a:lnTo>
                      <a:pt x="1210" y="2105"/>
                    </a:lnTo>
                    <a:lnTo>
                      <a:pt x="1218" y="2096"/>
                    </a:lnTo>
                    <a:lnTo>
                      <a:pt x="1224" y="2089"/>
                    </a:lnTo>
                    <a:lnTo>
                      <a:pt x="1231" y="2083"/>
                    </a:lnTo>
                    <a:lnTo>
                      <a:pt x="1241" y="2075"/>
                    </a:lnTo>
                    <a:lnTo>
                      <a:pt x="1248" y="2069"/>
                    </a:lnTo>
                    <a:lnTo>
                      <a:pt x="1257" y="2063"/>
                    </a:lnTo>
                    <a:lnTo>
                      <a:pt x="1267" y="2057"/>
                    </a:lnTo>
                    <a:lnTo>
                      <a:pt x="1276" y="2051"/>
                    </a:lnTo>
                    <a:lnTo>
                      <a:pt x="1285" y="2046"/>
                    </a:lnTo>
                    <a:lnTo>
                      <a:pt x="1294" y="2041"/>
                    </a:lnTo>
                    <a:lnTo>
                      <a:pt x="1305" y="2038"/>
                    </a:lnTo>
                    <a:lnTo>
                      <a:pt x="1315" y="2034"/>
                    </a:lnTo>
                    <a:lnTo>
                      <a:pt x="1326" y="2032"/>
                    </a:lnTo>
                    <a:lnTo>
                      <a:pt x="1337" y="2029"/>
                    </a:lnTo>
                    <a:lnTo>
                      <a:pt x="1347" y="2028"/>
                    </a:lnTo>
                    <a:lnTo>
                      <a:pt x="1358" y="2026"/>
                    </a:lnTo>
                    <a:lnTo>
                      <a:pt x="1369" y="2025"/>
                    </a:lnTo>
                    <a:lnTo>
                      <a:pt x="1381" y="2025"/>
                    </a:lnTo>
                    <a:close/>
                    <a:moveTo>
                      <a:pt x="863" y="2025"/>
                    </a:moveTo>
                    <a:lnTo>
                      <a:pt x="875" y="2025"/>
                    </a:lnTo>
                    <a:lnTo>
                      <a:pt x="886" y="2026"/>
                    </a:lnTo>
                    <a:lnTo>
                      <a:pt x="896" y="2028"/>
                    </a:lnTo>
                    <a:lnTo>
                      <a:pt x="907" y="2029"/>
                    </a:lnTo>
                    <a:lnTo>
                      <a:pt x="918" y="2032"/>
                    </a:lnTo>
                    <a:lnTo>
                      <a:pt x="928" y="2034"/>
                    </a:lnTo>
                    <a:lnTo>
                      <a:pt x="939" y="2038"/>
                    </a:lnTo>
                    <a:lnTo>
                      <a:pt x="950" y="2041"/>
                    </a:lnTo>
                    <a:lnTo>
                      <a:pt x="959" y="2046"/>
                    </a:lnTo>
                    <a:lnTo>
                      <a:pt x="968" y="2051"/>
                    </a:lnTo>
                    <a:lnTo>
                      <a:pt x="977" y="2057"/>
                    </a:lnTo>
                    <a:lnTo>
                      <a:pt x="986" y="2063"/>
                    </a:lnTo>
                    <a:lnTo>
                      <a:pt x="995" y="2069"/>
                    </a:lnTo>
                    <a:lnTo>
                      <a:pt x="1003" y="2075"/>
                    </a:lnTo>
                    <a:lnTo>
                      <a:pt x="1012" y="2083"/>
                    </a:lnTo>
                    <a:lnTo>
                      <a:pt x="1020" y="2089"/>
                    </a:lnTo>
                    <a:lnTo>
                      <a:pt x="1026" y="2096"/>
                    </a:lnTo>
                    <a:lnTo>
                      <a:pt x="1033" y="2105"/>
                    </a:lnTo>
                    <a:lnTo>
                      <a:pt x="1040" y="2113"/>
                    </a:lnTo>
                    <a:lnTo>
                      <a:pt x="1046" y="2122"/>
                    </a:lnTo>
                    <a:lnTo>
                      <a:pt x="1052" y="2131"/>
                    </a:lnTo>
                    <a:lnTo>
                      <a:pt x="1058" y="2140"/>
                    </a:lnTo>
                    <a:lnTo>
                      <a:pt x="1062" y="2150"/>
                    </a:lnTo>
                    <a:lnTo>
                      <a:pt x="1067" y="2159"/>
                    </a:lnTo>
                    <a:lnTo>
                      <a:pt x="1070" y="2169"/>
                    </a:lnTo>
                    <a:lnTo>
                      <a:pt x="1075" y="2180"/>
                    </a:lnTo>
                    <a:lnTo>
                      <a:pt x="1076" y="2191"/>
                    </a:lnTo>
                    <a:lnTo>
                      <a:pt x="1079" y="2201"/>
                    </a:lnTo>
                    <a:lnTo>
                      <a:pt x="1081" y="2212"/>
                    </a:lnTo>
                    <a:lnTo>
                      <a:pt x="1082" y="2223"/>
                    </a:lnTo>
                    <a:lnTo>
                      <a:pt x="1084" y="2233"/>
                    </a:lnTo>
                    <a:lnTo>
                      <a:pt x="1084" y="2246"/>
                    </a:lnTo>
                    <a:lnTo>
                      <a:pt x="1084" y="2256"/>
                    </a:lnTo>
                    <a:lnTo>
                      <a:pt x="1082" y="2268"/>
                    </a:lnTo>
                    <a:lnTo>
                      <a:pt x="1081" y="2279"/>
                    </a:lnTo>
                    <a:lnTo>
                      <a:pt x="1079" y="2290"/>
                    </a:lnTo>
                    <a:lnTo>
                      <a:pt x="1076" y="2300"/>
                    </a:lnTo>
                    <a:lnTo>
                      <a:pt x="1075" y="2311"/>
                    </a:lnTo>
                    <a:lnTo>
                      <a:pt x="1070" y="2322"/>
                    </a:lnTo>
                    <a:lnTo>
                      <a:pt x="1067" y="2331"/>
                    </a:lnTo>
                    <a:lnTo>
                      <a:pt x="1062" y="2341"/>
                    </a:lnTo>
                    <a:lnTo>
                      <a:pt x="1058" y="2351"/>
                    </a:lnTo>
                    <a:lnTo>
                      <a:pt x="1052" y="2360"/>
                    </a:lnTo>
                    <a:lnTo>
                      <a:pt x="1046" y="2369"/>
                    </a:lnTo>
                    <a:lnTo>
                      <a:pt x="1040" y="2378"/>
                    </a:lnTo>
                    <a:lnTo>
                      <a:pt x="1033" y="2386"/>
                    </a:lnTo>
                    <a:lnTo>
                      <a:pt x="1026" y="2393"/>
                    </a:lnTo>
                    <a:lnTo>
                      <a:pt x="1020" y="2401"/>
                    </a:lnTo>
                    <a:lnTo>
                      <a:pt x="1012" y="2408"/>
                    </a:lnTo>
                    <a:lnTo>
                      <a:pt x="1003" y="2416"/>
                    </a:lnTo>
                    <a:lnTo>
                      <a:pt x="995" y="2422"/>
                    </a:lnTo>
                    <a:lnTo>
                      <a:pt x="986" y="2428"/>
                    </a:lnTo>
                    <a:lnTo>
                      <a:pt x="977" y="2434"/>
                    </a:lnTo>
                    <a:lnTo>
                      <a:pt x="968" y="2439"/>
                    </a:lnTo>
                    <a:lnTo>
                      <a:pt x="959" y="2443"/>
                    </a:lnTo>
                    <a:lnTo>
                      <a:pt x="950" y="2448"/>
                    </a:lnTo>
                    <a:lnTo>
                      <a:pt x="939" y="2453"/>
                    </a:lnTo>
                    <a:lnTo>
                      <a:pt x="928" y="2456"/>
                    </a:lnTo>
                    <a:lnTo>
                      <a:pt x="918" y="2459"/>
                    </a:lnTo>
                    <a:lnTo>
                      <a:pt x="907" y="2462"/>
                    </a:lnTo>
                    <a:lnTo>
                      <a:pt x="896" y="2463"/>
                    </a:lnTo>
                    <a:lnTo>
                      <a:pt x="886" y="2465"/>
                    </a:lnTo>
                    <a:lnTo>
                      <a:pt x="875" y="2465"/>
                    </a:lnTo>
                    <a:lnTo>
                      <a:pt x="863" y="2466"/>
                    </a:lnTo>
                    <a:lnTo>
                      <a:pt x="852" y="2465"/>
                    </a:lnTo>
                    <a:lnTo>
                      <a:pt x="840" y="2465"/>
                    </a:lnTo>
                    <a:lnTo>
                      <a:pt x="829" y="2463"/>
                    </a:lnTo>
                    <a:lnTo>
                      <a:pt x="819" y="2462"/>
                    </a:lnTo>
                    <a:lnTo>
                      <a:pt x="808" y="2459"/>
                    </a:lnTo>
                    <a:lnTo>
                      <a:pt x="797" y="2456"/>
                    </a:lnTo>
                    <a:lnTo>
                      <a:pt x="787" y="2453"/>
                    </a:lnTo>
                    <a:lnTo>
                      <a:pt x="777" y="2448"/>
                    </a:lnTo>
                    <a:lnTo>
                      <a:pt x="767" y="2443"/>
                    </a:lnTo>
                    <a:lnTo>
                      <a:pt x="758" y="2439"/>
                    </a:lnTo>
                    <a:lnTo>
                      <a:pt x="749" y="2434"/>
                    </a:lnTo>
                    <a:lnTo>
                      <a:pt x="739" y="2428"/>
                    </a:lnTo>
                    <a:lnTo>
                      <a:pt x="732" y="2422"/>
                    </a:lnTo>
                    <a:lnTo>
                      <a:pt x="723" y="2416"/>
                    </a:lnTo>
                    <a:lnTo>
                      <a:pt x="715" y="2408"/>
                    </a:lnTo>
                    <a:lnTo>
                      <a:pt x="707" y="2401"/>
                    </a:lnTo>
                    <a:lnTo>
                      <a:pt x="700" y="2393"/>
                    </a:lnTo>
                    <a:lnTo>
                      <a:pt x="692" y="2386"/>
                    </a:lnTo>
                    <a:lnTo>
                      <a:pt x="686" y="2378"/>
                    </a:lnTo>
                    <a:lnTo>
                      <a:pt x="680" y="2369"/>
                    </a:lnTo>
                    <a:lnTo>
                      <a:pt x="674" y="2360"/>
                    </a:lnTo>
                    <a:lnTo>
                      <a:pt x="669" y="2351"/>
                    </a:lnTo>
                    <a:lnTo>
                      <a:pt x="665" y="2341"/>
                    </a:lnTo>
                    <a:lnTo>
                      <a:pt x="660" y="2331"/>
                    </a:lnTo>
                    <a:lnTo>
                      <a:pt x="656" y="2322"/>
                    </a:lnTo>
                    <a:lnTo>
                      <a:pt x="653" y="2311"/>
                    </a:lnTo>
                    <a:lnTo>
                      <a:pt x="649" y="2300"/>
                    </a:lnTo>
                    <a:lnTo>
                      <a:pt x="646" y="2290"/>
                    </a:lnTo>
                    <a:lnTo>
                      <a:pt x="645" y="2279"/>
                    </a:lnTo>
                    <a:lnTo>
                      <a:pt x="643" y="2268"/>
                    </a:lnTo>
                    <a:lnTo>
                      <a:pt x="642" y="2256"/>
                    </a:lnTo>
                    <a:lnTo>
                      <a:pt x="642" y="2246"/>
                    </a:lnTo>
                    <a:lnTo>
                      <a:pt x="642" y="2233"/>
                    </a:lnTo>
                    <a:lnTo>
                      <a:pt x="643" y="2223"/>
                    </a:lnTo>
                    <a:lnTo>
                      <a:pt x="645" y="2212"/>
                    </a:lnTo>
                    <a:lnTo>
                      <a:pt x="646" y="2201"/>
                    </a:lnTo>
                    <a:lnTo>
                      <a:pt x="649" y="2191"/>
                    </a:lnTo>
                    <a:lnTo>
                      <a:pt x="653" y="2180"/>
                    </a:lnTo>
                    <a:lnTo>
                      <a:pt x="656" y="2169"/>
                    </a:lnTo>
                    <a:lnTo>
                      <a:pt x="660" y="2159"/>
                    </a:lnTo>
                    <a:lnTo>
                      <a:pt x="665" y="2150"/>
                    </a:lnTo>
                    <a:lnTo>
                      <a:pt x="669" y="2140"/>
                    </a:lnTo>
                    <a:lnTo>
                      <a:pt x="674" y="2131"/>
                    </a:lnTo>
                    <a:lnTo>
                      <a:pt x="680" y="2122"/>
                    </a:lnTo>
                    <a:lnTo>
                      <a:pt x="686" y="2113"/>
                    </a:lnTo>
                    <a:lnTo>
                      <a:pt x="692" y="2105"/>
                    </a:lnTo>
                    <a:lnTo>
                      <a:pt x="700" y="2096"/>
                    </a:lnTo>
                    <a:lnTo>
                      <a:pt x="707" y="2089"/>
                    </a:lnTo>
                    <a:lnTo>
                      <a:pt x="715" y="2083"/>
                    </a:lnTo>
                    <a:lnTo>
                      <a:pt x="723" y="2075"/>
                    </a:lnTo>
                    <a:lnTo>
                      <a:pt x="732" y="2069"/>
                    </a:lnTo>
                    <a:lnTo>
                      <a:pt x="739" y="2063"/>
                    </a:lnTo>
                    <a:lnTo>
                      <a:pt x="749" y="2057"/>
                    </a:lnTo>
                    <a:lnTo>
                      <a:pt x="758" y="2051"/>
                    </a:lnTo>
                    <a:lnTo>
                      <a:pt x="767" y="2046"/>
                    </a:lnTo>
                    <a:lnTo>
                      <a:pt x="777" y="2041"/>
                    </a:lnTo>
                    <a:lnTo>
                      <a:pt x="787" y="2038"/>
                    </a:lnTo>
                    <a:lnTo>
                      <a:pt x="797" y="2034"/>
                    </a:lnTo>
                    <a:lnTo>
                      <a:pt x="808" y="2032"/>
                    </a:lnTo>
                    <a:lnTo>
                      <a:pt x="819" y="2029"/>
                    </a:lnTo>
                    <a:lnTo>
                      <a:pt x="829" y="2028"/>
                    </a:lnTo>
                    <a:lnTo>
                      <a:pt x="840" y="2026"/>
                    </a:lnTo>
                    <a:lnTo>
                      <a:pt x="852" y="2025"/>
                    </a:lnTo>
                    <a:lnTo>
                      <a:pt x="863" y="2025"/>
                    </a:lnTo>
                    <a:close/>
                    <a:moveTo>
                      <a:pt x="345" y="2466"/>
                    </a:moveTo>
                    <a:lnTo>
                      <a:pt x="334" y="2465"/>
                    </a:lnTo>
                    <a:lnTo>
                      <a:pt x="322" y="2465"/>
                    </a:lnTo>
                    <a:lnTo>
                      <a:pt x="311" y="2463"/>
                    </a:lnTo>
                    <a:lnTo>
                      <a:pt x="301" y="2462"/>
                    </a:lnTo>
                    <a:lnTo>
                      <a:pt x="290" y="2459"/>
                    </a:lnTo>
                    <a:lnTo>
                      <a:pt x="279" y="2456"/>
                    </a:lnTo>
                    <a:lnTo>
                      <a:pt x="269" y="2453"/>
                    </a:lnTo>
                    <a:lnTo>
                      <a:pt x="259" y="2448"/>
                    </a:lnTo>
                    <a:lnTo>
                      <a:pt x="250" y="2443"/>
                    </a:lnTo>
                    <a:lnTo>
                      <a:pt x="240" y="2439"/>
                    </a:lnTo>
                    <a:lnTo>
                      <a:pt x="230" y="2434"/>
                    </a:lnTo>
                    <a:lnTo>
                      <a:pt x="221" y="2428"/>
                    </a:lnTo>
                    <a:lnTo>
                      <a:pt x="214" y="2422"/>
                    </a:lnTo>
                    <a:lnTo>
                      <a:pt x="205" y="2416"/>
                    </a:lnTo>
                    <a:lnTo>
                      <a:pt x="197" y="2408"/>
                    </a:lnTo>
                    <a:lnTo>
                      <a:pt x="189" y="2401"/>
                    </a:lnTo>
                    <a:lnTo>
                      <a:pt x="182" y="2393"/>
                    </a:lnTo>
                    <a:lnTo>
                      <a:pt x="174" y="2386"/>
                    </a:lnTo>
                    <a:lnTo>
                      <a:pt x="168" y="2378"/>
                    </a:lnTo>
                    <a:lnTo>
                      <a:pt x="162" y="2369"/>
                    </a:lnTo>
                    <a:lnTo>
                      <a:pt x="156" y="2360"/>
                    </a:lnTo>
                    <a:lnTo>
                      <a:pt x="151" y="2351"/>
                    </a:lnTo>
                    <a:lnTo>
                      <a:pt x="147" y="2341"/>
                    </a:lnTo>
                    <a:lnTo>
                      <a:pt x="142" y="2331"/>
                    </a:lnTo>
                    <a:lnTo>
                      <a:pt x="138" y="2322"/>
                    </a:lnTo>
                    <a:lnTo>
                      <a:pt x="134" y="2311"/>
                    </a:lnTo>
                    <a:lnTo>
                      <a:pt x="131" y="2300"/>
                    </a:lnTo>
                    <a:lnTo>
                      <a:pt x="128" y="2290"/>
                    </a:lnTo>
                    <a:lnTo>
                      <a:pt x="127" y="2279"/>
                    </a:lnTo>
                    <a:lnTo>
                      <a:pt x="125" y="2268"/>
                    </a:lnTo>
                    <a:lnTo>
                      <a:pt x="125" y="2256"/>
                    </a:lnTo>
                    <a:lnTo>
                      <a:pt x="124" y="2246"/>
                    </a:lnTo>
                    <a:lnTo>
                      <a:pt x="125" y="2233"/>
                    </a:lnTo>
                    <a:lnTo>
                      <a:pt x="125" y="2223"/>
                    </a:lnTo>
                    <a:lnTo>
                      <a:pt x="127" y="2212"/>
                    </a:lnTo>
                    <a:lnTo>
                      <a:pt x="128" y="2201"/>
                    </a:lnTo>
                    <a:lnTo>
                      <a:pt x="131" y="2191"/>
                    </a:lnTo>
                    <a:lnTo>
                      <a:pt x="134" y="2180"/>
                    </a:lnTo>
                    <a:lnTo>
                      <a:pt x="138" y="2169"/>
                    </a:lnTo>
                    <a:lnTo>
                      <a:pt x="142" y="2159"/>
                    </a:lnTo>
                    <a:lnTo>
                      <a:pt x="147" y="2150"/>
                    </a:lnTo>
                    <a:lnTo>
                      <a:pt x="151" y="2140"/>
                    </a:lnTo>
                    <a:lnTo>
                      <a:pt x="156" y="2131"/>
                    </a:lnTo>
                    <a:lnTo>
                      <a:pt x="162" y="2122"/>
                    </a:lnTo>
                    <a:lnTo>
                      <a:pt x="168" y="2113"/>
                    </a:lnTo>
                    <a:lnTo>
                      <a:pt x="174" y="2105"/>
                    </a:lnTo>
                    <a:lnTo>
                      <a:pt x="182" y="2096"/>
                    </a:lnTo>
                    <a:lnTo>
                      <a:pt x="189" y="2089"/>
                    </a:lnTo>
                    <a:lnTo>
                      <a:pt x="197" y="2083"/>
                    </a:lnTo>
                    <a:lnTo>
                      <a:pt x="205" y="2075"/>
                    </a:lnTo>
                    <a:lnTo>
                      <a:pt x="214" y="2069"/>
                    </a:lnTo>
                    <a:lnTo>
                      <a:pt x="221" y="2063"/>
                    </a:lnTo>
                    <a:lnTo>
                      <a:pt x="230" y="2057"/>
                    </a:lnTo>
                    <a:lnTo>
                      <a:pt x="240" y="2051"/>
                    </a:lnTo>
                    <a:lnTo>
                      <a:pt x="250" y="2046"/>
                    </a:lnTo>
                    <a:lnTo>
                      <a:pt x="259" y="2041"/>
                    </a:lnTo>
                    <a:lnTo>
                      <a:pt x="269" y="2038"/>
                    </a:lnTo>
                    <a:lnTo>
                      <a:pt x="279" y="2034"/>
                    </a:lnTo>
                    <a:lnTo>
                      <a:pt x="290" y="2032"/>
                    </a:lnTo>
                    <a:lnTo>
                      <a:pt x="301" y="2029"/>
                    </a:lnTo>
                    <a:lnTo>
                      <a:pt x="311" y="2028"/>
                    </a:lnTo>
                    <a:lnTo>
                      <a:pt x="322" y="2026"/>
                    </a:lnTo>
                    <a:lnTo>
                      <a:pt x="334" y="2025"/>
                    </a:lnTo>
                    <a:lnTo>
                      <a:pt x="345" y="2025"/>
                    </a:lnTo>
                    <a:lnTo>
                      <a:pt x="357" y="2025"/>
                    </a:lnTo>
                    <a:lnTo>
                      <a:pt x="368" y="2026"/>
                    </a:lnTo>
                    <a:lnTo>
                      <a:pt x="378" y="2028"/>
                    </a:lnTo>
                    <a:lnTo>
                      <a:pt x="389" y="2029"/>
                    </a:lnTo>
                    <a:lnTo>
                      <a:pt x="401" y="2032"/>
                    </a:lnTo>
                    <a:lnTo>
                      <a:pt x="410" y="2034"/>
                    </a:lnTo>
                    <a:lnTo>
                      <a:pt x="421" y="2038"/>
                    </a:lnTo>
                    <a:lnTo>
                      <a:pt x="432" y="2041"/>
                    </a:lnTo>
                    <a:lnTo>
                      <a:pt x="441" y="2046"/>
                    </a:lnTo>
                    <a:lnTo>
                      <a:pt x="451" y="2051"/>
                    </a:lnTo>
                    <a:lnTo>
                      <a:pt x="461" y="2057"/>
                    </a:lnTo>
                    <a:lnTo>
                      <a:pt x="468" y="2063"/>
                    </a:lnTo>
                    <a:lnTo>
                      <a:pt x="477" y="2069"/>
                    </a:lnTo>
                    <a:lnTo>
                      <a:pt x="486" y="2075"/>
                    </a:lnTo>
                    <a:lnTo>
                      <a:pt x="494" y="2083"/>
                    </a:lnTo>
                    <a:lnTo>
                      <a:pt x="502" y="2089"/>
                    </a:lnTo>
                    <a:lnTo>
                      <a:pt x="509" y="2096"/>
                    </a:lnTo>
                    <a:lnTo>
                      <a:pt x="515" y="2105"/>
                    </a:lnTo>
                    <a:lnTo>
                      <a:pt x="523" y="2113"/>
                    </a:lnTo>
                    <a:lnTo>
                      <a:pt x="529" y="2122"/>
                    </a:lnTo>
                    <a:lnTo>
                      <a:pt x="534" y="2131"/>
                    </a:lnTo>
                    <a:lnTo>
                      <a:pt x="540" y="2140"/>
                    </a:lnTo>
                    <a:lnTo>
                      <a:pt x="544" y="2150"/>
                    </a:lnTo>
                    <a:lnTo>
                      <a:pt x="549" y="2159"/>
                    </a:lnTo>
                    <a:lnTo>
                      <a:pt x="553" y="2169"/>
                    </a:lnTo>
                    <a:lnTo>
                      <a:pt x="557" y="2180"/>
                    </a:lnTo>
                    <a:lnTo>
                      <a:pt x="560" y="2191"/>
                    </a:lnTo>
                    <a:lnTo>
                      <a:pt x="561" y="2201"/>
                    </a:lnTo>
                    <a:lnTo>
                      <a:pt x="564" y="2212"/>
                    </a:lnTo>
                    <a:lnTo>
                      <a:pt x="566" y="2223"/>
                    </a:lnTo>
                    <a:lnTo>
                      <a:pt x="566" y="2233"/>
                    </a:lnTo>
                    <a:lnTo>
                      <a:pt x="566" y="2246"/>
                    </a:lnTo>
                    <a:lnTo>
                      <a:pt x="566" y="2256"/>
                    </a:lnTo>
                    <a:lnTo>
                      <a:pt x="566" y="2268"/>
                    </a:lnTo>
                    <a:lnTo>
                      <a:pt x="564" y="2279"/>
                    </a:lnTo>
                    <a:lnTo>
                      <a:pt x="561" y="2290"/>
                    </a:lnTo>
                    <a:lnTo>
                      <a:pt x="560" y="2300"/>
                    </a:lnTo>
                    <a:lnTo>
                      <a:pt x="557" y="2311"/>
                    </a:lnTo>
                    <a:lnTo>
                      <a:pt x="553" y="2322"/>
                    </a:lnTo>
                    <a:lnTo>
                      <a:pt x="549" y="2331"/>
                    </a:lnTo>
                    <a:lnTo>
                      <a:pt x="544" y="2341"/>
                    </a:lnTo>
                    <a:lnTo>
                      <a:pt x="540" y="2351"/>
                    </a:lnTo>
                    <a:lnTo>
                      <a:pt x="534" y="2360"/>
                    </a:lnTo>
                    <a:lnTo>
                      <a:pt x="529" y="2369"/>
                    </a:lnTo>
                    <a:lnTo>
                      <a:pt x="523" y="2378"/>
                    </a:lnTo>
                    <a:lnTo>
                      <a:pt x="515" y="2386"/>
                    </a:lnTo>
                    <a:lnTo>
                      <a:pt x="509" y="2393"/>
                    </a:lnTo>
                    <a:lnTo>
                      <a:pt x="502" y="2401"/>
                    </a:lnTo>
                    <a:lnTo>
                      <a:pt x="494" y="2408"/>
                    </a:lnTo>
                    <a:lnTo>
                      <a:pt x="486" y="2416"/>
                    </a:lnTo>
                    <a:lnTo>
                      <a:pt x="477" y="2422"/>
                    </a:lnTo>
                    <a:lnTo>
                      <a:pt x="468" y="2428"/>
                    </a:lnTo>
                    <a:lnTo>
                      <a:pt x="461" y="2434"/>
                    </a:lnTo>
                    <a:lnTo>
                      <a:pt x="451" y="2439"/>
                    </a:lnTo>
                    <a:lnTo>
                      <a:pt x="441" y="2443"/>
                    </a:lnTo>
                    <a:lnTo>
                      <a:pt x="432" y="2448"/>
                    </a:lnTo>
                    <a:lnTo>
                      <a:pt x="421" y="2453"/>
                    </a:lnTo>
                    <a:lnTo>
                      <a:pt x="410" y="2456"/>
                    </a:lnTo>
                    <a:lnTo>
                      <a:pt x="401" y="2459"/>
                    </a:lnTo>
                    <a:lnTo>
                      <a:pt x="389" y="2462"/>
                    </a:lnTo>
                    <a:lnTo>
                      <a:pt x="378" y="2463"/>
                    </a:lnTo>
                    <a:lnTo>
                      <a:pt x="368" y="2465"/>
                    </a:lnTo>
                    <a:lnTo>
                      <a:pt x="357" y="2465"/>
                    </a:lnTo>
                    <a:lnTo>
                      <a:pt x="345" y="246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" name="Freeform 8"/>
              <p:cNvSpPr>
                <a:spLocks noEditPoints="1"/>
              </p:cNvSpPr>
              <p:nvPr userDrawn="1"/>
            </p:nvSpPr>
            <p:spPr bwMode="auto">
              <a:xfrm>
                <a:off x="8266157" y="-6403"/>
                <a:ext cx="647299" cy="1183839"/>
              </a:xfrm>
              <a:custGeom>
                <a:avLst/>
                <a:gdLst>
                  <a:gd name="T0" fmla="*/ 1394 w 1774"/>
                  <a:gd name="T1" fmla="*/ 1623 h 3228"/>
                  <a:gd name="T2" fmla="*/ 1403 w 1774"/>
                  <a:gd name="T3" fmla="*/ 1591 h 3228"/>
                  <a:gd name="T4" fmla="*/ 1420 w 1774"/>
                  <a:gd name="T5" fmla="*/ 1562 h 3228"/>
                  <a:gd name="T6" fmla="*/ 1443 w 1774"/>
                  <a:gd name="T7" fmla="*/ 1537 h 3228"/>
                  <a:gd name="T8" fmla="*/ 1470 w 1774"/>
                  <a:gd name="T9" fmla="*/ 1519 h 3228"/>
                  <a:gd name="T10" fmla="*/ 1502 w 1774"/>
                  <a:gd name="T11" fmla="*/ 1507 h 3228"/>
                  <a:gd name="T12" fmla="*/ 1530 w 1774"/>
                  <a:gd name="T13" fmla="*/ 1502 h 3228"/>
                  <a:gd name="T14" fmla="*/ 1530 w 1774"/>
                  <a:gd name="T15" fmla="*/ 1502 h 3228"/>
                  <a:gd name="T16" fmla="*/ 1530 w 1774"/>
                  <a:gd name="T17" fmla="*/ 1502 h 3228"/>
                  <a:gd name="T18" fmla="*/ 1530 w 1774"/>
                  <a:gd name="T19" fmla="*/ 1502 h 3228"/>
                  <a:gd name="T20" fmla="*/ 1757 w 1774"/>
                  <a:gd name="T21" fmla="*/ 1502 h 3228"/>
                  <a:gd name="T22" fmla="*/ 1761 w 1774"/>
                  <a:gd name="T23" fmla="*/ 1501 h 3228"/>
                  <a:gd name="T24" fmla="*/ 1766 w 1774"/>
                  <a:gd name="T25" fmla="*/ 1498 h 3228"/>
                  <a:gd name="T26" fmla="*/ 1769 w 1774"/>
                  <a:gd name="T27" fmla="*/ 1495 h 3228"/>
                  <a:gd name="T28" fmla="*/ 1770 w 1774"/>
                  <a:gd name="T29" fmla="*/ 1492 h 3228"/>
                  <a:gd name="T30" fmla="*/ 1772 w 1774"/>
                  <a:gd name="T31" fmla="*/ 1487 h 3228"/>
                  <a:gd name="T32" fmla="*/ 1774 w 1774"/>
                  <a:gd name="T33" fmla="*/ 1020 h 3228"/>
                  <a:gd name="T34" fmla="*/ 794 w 1774"/>
                  <a:gd name="T35" fmla="*/ 30 h 3228"/>
                  <a:gd name="T36" fmla="*/ 576 w 1774"/>
                  <a:gd name="T37" fmla="*/ 199 h 3228"/>
                  <a:gd name="T38" fmla="*/ 387 w 1774"/>
                  <a:gd name="T39" fmla="*/ 400 h 3228"/>
                  <a:gd name="T40" fmla="*/ 232 w 1774"/>
                  <a:gd name="T41" fmla="*/ 630 h 3228"/>
                  <a:gd name="T42" fmla="*/ 113 w 1774"/>
                  <a:gd name="T43" fmla="*/ 883 h 3228"/>
                  <a:gd name="T44" fmla="*/ 35 w 1774"/>
                  <a:gd name="T45" fmla="*/ 1155 h 3228"/>
                  <a:gd name="T46" fmla="*/ 2 w 1774"/>
                  <a:gd name="T47" fmla="*/ 1443 h 3228"/>
                  <a:gd name="T48" fmla="*/ 27 w 1774"/>
                  <a:gd name="T49" fmla="*/ 1813 h 3228"/>
                  <a:gd name="T50" fmla="*/ 133 w 1774"/>
                  <a:gd name="T51" fmla="*/ 2175 h 3228"/>
                  <a:gd name="T52" fmla="*/ 309 w 1774"/>
                  <a:gd name="T53" fmla="*/ 2500 h 3228"/>
                  <a:gd name="T54" fmla="*/ 549 w 1774"/>
                  <a:gd name="T55" fmla="*/ 2780 h 3228"/>
                  <a:gd name="T56" fmla="*/ 840 w 1774"/>
                  <a:gd name="T57" fmla="*/ 3005 h 3228"/>
                  <a:gd name="T58" fmla="*/ 1173 w 1774"/>
                  <a:gd name="T59" fmla="*/ 3167 h 3228"/>
                  <a:gd name="T60" fmla="*/ 1440 w 1774"/>
                  <a:gd name="T61" fmla="*/ 752 h 3228"/>
                  <a:gd name="T62" fmla="*/ 1495 w 1774"/>
                  <a:gd name="T63" fmla="*/ 762 h 3228"/>
                  <a:gd name="T64" fmla="*/ 1543 w 1774"/>
                  <a:gd name="T65" fmla="*/ 784 h 3228"/>
                  <a:gd name="T66" fmla="*/ 1585 w 1774"/>
                  <a:gd name="T67" fmla="*/ 816 h 3228"/>
                  <a:gd name="T68" fmla="*/ 1617 w 1774"/>
                  <a:gd name="T69" fmla="*/ 858 h 3228"/>
                  <a:gd name="T70" fmla="*/ 1639 w 1774"/>
                  <a:gd name="T71" fmla="*/ 907 h 3228"/>
                  <a:gd name="T72" fmla="*/ 1649 w 1774"/>
                  <a:gd name="T73" fmla="*/ 960 h 3228"/>
                  <a:gd name="T74" fmla="*/ 1644 w 1774"/>
                  <a:gd name="T75" fmla="*/ 1017 h 3228"/>
                  <a:gd name="T76" fmla="*/ 1627 w 1774"/>
                  <a:gd name="T77" fmla="*/ 1069 h 3228"/>
                  <a:gd name="T78" fmla="*/ 1598 w 1774"/>
                  <a:gd name="T79" fmla="*/ 1113 h 3228"/>
                  <a:gd name="T80" fmla="*/ 1560 w 1774"/>
                  <a:gd name="T81" fmla="*/ 1149 h 3228"/>
                  <a:gd name="T82" fmla="*/ 1515 w 1774"/>
                  <a:gd name="T83" fmla="*/ 1175 h 3228"/>
                  <a:gd name="T84" fmla="*/ 1463 w 1774"/>
                  <a:gd name="T85" fmla="*/ 1190 h 3228"/>
                  <a:gd name="T86" fmla="*/ 1406 w 1774"/>
                  <a:gd name="T87" fmla="*/ 1192 h 3228"/>
                  <a:gd name="T88" fmla="*/ 1353 w 1774"/>
                  <a:gd name="T89" fmla="*/ 1180 h 3228"/>
                  <a:gd name="T90" fmla="*/ 1304 w 1774"/>
                  <a:gd name="T91" fmla="*/ 1155 h 3228"/>
                  <a:gd name="T92" fmla="*/ 1265 w 1774"/>
                  <a:gd name="T93" fmla="*/ 1120 h 3228"/>
                  <a:gd name="T94" fmla="*/ 1234 w 1774"/>
                  <a:gd name="T95" fmla="*/ 1078 h 3228"/>
                  <a:gd name="T96" fmla="*/ 1214 w 1774"/>
                  <a:gd name="T97" fmla="*/ 1027 h 3228"/>
                  <a:gd name="T98" fmla="*/ 1208 w 1774"/>
                  <a:gd name="T99" fmla="*/ 973 h 3228"/>
                  <a:gd name="T100" fmla="*/ 1214 w 1774"/>
                  <a:gd name="T101" fmla="*/ 918 h 3228"/>
                  <a:gd name="T102" fmla="*/ 1234 w 1774"/>
                  <a:gd name="T103" fmla="*/ 868 h 3228"/>
                  <a:gd name="T104" fmla="*/ 1265 w 1774"/>
                  <a:gd name="T105" fmla="*/ 825 h 3228"/>
                  <a:gd name="T106" fmla="*/ 1304 w 1774"/>
                  <a:gd name="T107" fmla="*/ 790 h 3228"/>
                  <a:gd name="T108" fmla="*/ 1353 w 1774"/>
                  <a:gd name="T109" fmla="*/ 766 h 3228"/>
                  <a:gd name="T110" fmla="*/ 1406 w 1774"/>
                  <a:gd name="T111" fmla="*/ 753 h 3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74" h="3228">
                    <a:moveTo>
                      <a:pt x="1393" y="3228"/>
                    </a:moveTo>
                    <a:lnTo>
                      <a:pt x="1393" y="1644"/>
                    </a:lnTo>
                    <a:lnTo>
                      <a:pt x="1393" y="1636"/>
                    </a:lnTo>
                    <a:lnTo>
                      <a:pt x="1393" y="1630"/>
                    </a:lnTo>
                    <a:lnTo>
                      <a:pt x="1394" y="1623"/>
                    </a:lnTo>
                    <a:lnTo>
                      <a:pt x="1396" y="1617"/>
                    </a:lnTo>
                    <a:lnTo>
                      <a:pt x="1397" y="1609"/>
                    </a:lnTo>
                    <a:lnTo>
                      <a:pt x="1399" y="1603"/>
                    </a:lnTo>
                    <a:lnTo>
                      <a:pt x="1400" y="1597"/>
                    </a:lnTo>
                    <a:lnTo>
                      <a:pt x="1403" y="1591"/>
                    </a:lnTo>
                    <a:lnTo>
                      <a:pt x="1406" y="1585"/>
                    </a:lnTo>
                    <a:lnTo>
                      <a:pt x="1409" y="1579"/>
                    </a:lnTo>
                    <a:lnTo>
                      <a:pt x="1412" y="1573"/>
                    </a:lnTo>
                    <a:lnTo>
                      <a:pt x="1417" y="1566"/>
                    </a:lnTo>
                    <a:lnTo>
                      <a:pt x="1420" y="1562"/>
                    </a:lnTo>
                    <a:lnTo>
                      <a:pt x="1425" y="1556"/>
                    </a:lnTo>
                    <a:lnTo>
                      <a:pt x="1429" y="1551"/>
                    </a:lnTo>
                    <a:lnTo>
                      <a:pt x="1434" y="1547"/>
                    </a:lnTo>
                    <a:lnTo>
                      <a:pt x="1438" y="1542"/>
                    </a:lnTo>
                    <a:lnTo>
                      <a:pt x="1443" y="1537"/>
                    </a:lnTo>
                    <a:lnTo>
                      <a:pt x="1447" y="1533"/>
                    </a:lnTo>
                    <a:lnTo>
                      <a:pt x="1454" y="1528"/>
                    </a:lnTo>
                    <a:lnTo>
                      <a:pt x="1460" y="1525"/>
                    </a:lnTo>
                    <a:lnTo>
                      <a:pt x="1464" y="1522"/>
                    </a:lnTo>
                    <a:lnTo>
                      <a:pt x="1470" y="1519"/>
                    </a:lnTo>
                    <a:lnTo>
                      <a:pt x="1476" y="1516"/>
                    </a:lnTo>
                    <a:lnTo>
                      <a:pt x="1483" y="1513"/>
                    </a:lnTo>
                    <a:lnTo>
                      <a:pt x="1490" y="1510"/>
                    </a:lnTo>
                    <a:lnTo>
                      <a:pt x="1496" y="1509"/>
                    </a:lnTo>
                    <a:lnTo>
                      <a:pt x="1502" y="1507"/>
                    </a:lnTo>
                    <a:lnTo>
                      <a:pt x="1510" y="1506"/>
                    </a:lnTo>
                    <a:lnTo>
                      <a:pt x="1516" y="1504"/>
                    </a:lnTo>
                    <a:lnTo>
                      <a:pt x="1524" y="1504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754" y="1502"/>
                    </a:lnTo>
                    <a:lnTo>
                      <a:pt x="1754" y="1502"/>
                    </a:lnTo>
                    <a:lnTo>
                      <a:pt x="1755" y="1502"/>
                    </a:lnTo>
                    <a:lnTo>
                      <a:pt x="1757" y="1502"/>
                    </a:lnTo>
                    <a:lnTo>
                      <a:pt x="1757" y="1502"/>
                    </a:lnTo>
                    <a:lnTo>
                      <a:pt x="1758" y="1502"/>
                    </a:lnTo>
                    <a:lnTo>
                      <a:pt x="1758" y="1502"/>
                    </a:lnTo>
                    <a:lnTo>
                      <a:pt x="1760" y="1501"/>
                    </a:lnTo>
                    <a:lnTo>
                      <a:pt x="1760" y="1501"/>
                    </a:lnTo>
                    <a:lnTo>
                      <a:pt x="1761" y="1501"/>
                    </a:lnTo>
                    <a:lnTo>
                      <a:pt x="1763" y="1501"/>
                    </a:lnTo>
                    <a:lnTo>
                      <a:pt x="1763" y="1499"/>
                    </a:lnTo>
                    <a:lnTo>
                      <a:pt x="1764" y="1499"/>
                    </a:lnTo>
                    <a:lnTo>
                      <a:pt x="1764" y="1499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7" y="1496"/>
                    </a:lnTo>
                    <a:lnTo>
                      <a:pt x="1767" y="1496"/>
                    </a:lnTo>
                    <a:lnTo>
                      <a:pt x="1769" y="1495"/>
                    </a:lnTo>
                    <a:lnTo>
                      <a:pt x="1769" y="1495"/>
                    </a:lnTo>
                    <a:lnTo>
                      <a:pt x="1769" y="1493"/>
                    </a:lnTo>
                    <a:lnTo>
                      <a:pt x="1770" y="1493"/>
                    </a:lnTo>
                    <a:lnTo>
                      <a:pt x="1770" y="1492"/>
                    </a:lnTo>
                    <a:lnTo>
                      <a:pt x="1770" y="1492"/>
                    </a:lnTo>
                    <a:lnTo>
                      <a:pt x="1770" y="1490"/>
                    </a:lnTo>
                    <a:lnTo>
                      <a:pt x="1770" y="1490"/>
                    </a:lnTo>
                    <a:lnTo>
                      <a:pt x="1772" y="1489"/>
                    </a:lnTo>
                    <a:lnTo>
                      <a:pt x="1772" y="1489"/>
                    </a:lnTo>
                    <a:lnTo>
                      <a:pt x="1772" y="1487"/>
                    </a:lnTo>
                    <a:lnTo>
                      <a:pt x="1772" y="1486"/>
                    </a:lnTo>
                    <a:lnTo>
                      <a:pt x="1774" y="1486"/>
                    </a:lnTo>
                    <a:lnTo>
                      <a:pt x="1774" y="1484"/>
                    </a:lnTo>
                    <a:lnTo>
                      <a:pt x="1774" y="1439"/>
                    </a:lnTo>
                    <a:lnTo>
                      <a:pt x="1774" y="1020"/>
                    </a:lnTo>
                    <a:lnTo>
                      <a:pt x="1774" y="600"/>
                    </a:lnTo>
                    <a:lnTo>
                      <a:pt x="1774" y="176"/>
                    </a:lnTo>
                    <a:lnTo>
                      <a:pt x="1774" y="0"/>
                    </a:lnTo>
                    <a:lnTo>
                      <a:pt x="841" y="0"/>
                    </a:lnTo>
                    <a:lnTo>
                      <a:pt x="794" y="30"/>
                    </a:lnTo>
                    <a:lnTo>
                      <a:pt x="748" y="61"/>
                    </a:lnTo>
                    <a:lnTo>
                      <a:pt x="702" y="94"/>
                    </a:lnTo>
                    <a:lnTo>
                      <a:pt x="660" y="128"/>
                    </a:lnTo>
                    <a:lnTo>
                      <a:pt x="617" y="163"/>
                    </a:lnTo>
                    <a:lnTo>
                      <a:pt x="576" y="199"/>
                    </a:lnTo>
                    <a:lnTo>
                      <a:pt x="535" y="237"/>
                    </a:lnTo>
                    <a:lnTo>
                      <a:pt x="497" y="277"/>
                    </a:lnTo>
                    <a:lnTo>
                      <a:pt x="459" y="316"/>
                    </a:lnTo>
                    <a:lnTo>
                      <a:pt x="422" y="357"/>
                    </a:lnTo>
                    <a:lnTo>
                      <a:pt x="387" y="400"/>
                    </a:lnTo>
                    <a:lnTo>
                      <a:pt x="353" y="444"/>
                    </a:lnTo>
                    <a:lnTo>
                      <a:pt x="320" y="490"/>
                    </a:lnTo>
                    <a:lnTo>
                      <a:pt x="290" y="536"/>
                    </a:lnTo>
                    <a:lnTo>
                      <a:pt x="259" y="581"/>
                    </a:lnTo>
                    <a:lnTo>
                      <a:pt x="232" y="630"/>
                    </a:lnTo>
                    <a:lnTo>
                      <a:pt x="204" y="679"/>
                    </a:lnTo>
                    <a:lnTo>
                      <a:pt x="180" y="727"/>
                    </a:lnTo>
                    <a:lnTo>
                      <a:pt x="155" y="779"/>
                    </a:lnTo>
                    <a:lnTo>
                      <a:pt x="133" y="829"/>
                    </a:lnTo>
                    <a:lnTo>
                      <a:pt x="113" y="883"/>
                    </a:lnTo>
                    <a:lnTo>
                      <a:pt x="93" y="935"/>
                    </a:lnTo>
                    <a:lnTo>
                      <a:pt x="76" y="989"/>
                    </a:lnTo>
                    <a:lnTo>
                      <a:pt x="61" y="1044"/>
                    </a:lnTo>
                    <a:lnTo>
                      <a:pt x="47" y="1099"/>
                    </a:lnTo>
                    <a:lnTo>
                      <a:pt x="35" y="1155"/>
                    </a:lnTo>
                    <a:lnTo>
                      <a:pt x="24" y="1212"/>
                    </a:lnTo>
                    <a:lnTo>
                      <a:pt x="15" y="1268"/>
                    </a:lnTo>
                    <a:lnTo>
                      <a:pt x="9" y="1326"/>
                    </a:lnTo>
                    <a:lnTo>
                      <a:pt x="5" y="1385"/>
                    </a:lnTo>
                    <a:lnTo>
                      <a:pt x="2" y="1443"/>
                    </a:lnTo>
                    <a:lnTo>
                      <a:pt x="0" y="1502"/>
                    </a:lnTo>
                    <a:lnTo>
                      <a:pt x="2" y="1582"/>
                    </a:lnTo>
                    <a:lnTo>
                      <a:pt x="8" y="1659"/>
                    </a:lnTo>
                    <a:lnTo>
                      <a:pt x="15" y="1737"/>
                    </a:lnTo>
                    <a:lnTo>
                      <a:pt x="27" y="1813"/>
                    </a:lnTo>
                    <a:lnTo>
                      <a:pt x="43" y="1888"/>
                    </a:lnTo>
                    <a:lnTo>
                      <a:pt x="61" y="1962"/>
                    </a:lnTo>
                    <a:lnTo>
                      <a:pt x="82" y="2034"/>
                    </a:lnTo>
                    <a:lnTo>
                      <a:pt x="105" y="2105"/>
                    </a:lnTo>
                    <a:lnTo>
                      <a:pt x="133" y="2175"/>
                    </a:lnTo>
                    <a:lnTo>
                      <a:pt x="163" y="2244"/>
                    </a:lnTo>
                    <a:lnTo>
                      <a:pt x="195" y="2309"/>
                    </a:lnTo>
                    <a:lnTo>
                      <a:pt x="232" y="2375"/>
                    </a:lnTo>
                    <a:lnTo>
                      <a:pt x="268" y="2439"/>
                    </a:lnTo>
                    <a:lnTo>
                      <a:pt x="309" y="2500"/>
                    </a:lnTo>
                    <a:lnTo>
                      <a:pt x="352" y="2561"/>
                    </a:lnTo>
                    <a:lnTo>
                      <a:pt x="398" y="2619"/>
                    </a:lnTo>
                    <a:lnTo>
                      <a:pt x="445" y="2675"/>
                    </a:lnTo>
                    <a:lnTo>
                      <a:pt x="495" y="2728"/>
                    </a:lnTo>
                    <a:lnTo>
                      <a:pt x="549" y="2780"/>
                    </a:lnTo>
                    <a:lnTo>
                      <a:pt x="602" y="2830"/>
                    </a:lnTo>
                    <a:lnTo>
                      <a:pt x="658" y="2877"/>
                    </a:lnTo>
                    <a:lnTo>
                      <a:pt x="716" y="2923"/>
                    </a:lnTo>
                    <a:lnTo>
                      <a:pt x="777" y="2966"/>
                    </a:lnTo>
                    <a:lnTo>
                      <a:pt x="840" y="3005"/>
                    </a:lnTo>
                    <a:lnTo>
                      <a:pt x="902" y="3043"/>
                    </a:lnTo>
                    <a:lnTo>
                      <a:pt x="968" y="3078"/>
                    </a:lnTo>
                    <a:lnTo>
                      <a:pt x="1035" y="3110"/>
                    </a:lnTo>
                    <a:lnTo>
                      <a:pt x="1103" y="3139"/>
                    </a:lnTo>
                    <a:lnTo>
                      <a:pt x="1173" y="3167"/>
                    </a:lnTo>
                    <a:lnTo>
                      <a:pt x="1245" y="3190"/>
                    </a:lnTo>
                    <a:lnTo>
                      <a:pt x="1318" y="3211"/>
                    </a:lnTo>
                    <a:lnTo>
                      <a:pt x="1393" y="3228"/>
                    </a:lnTo>
                    <a:close/>
                    <a:moveTo>
                      <a:pt x="1429" y="752"/>
                    </a:moveTo>
                    <a:lnTo>
                      <a:pt x="1440" y="752"/>
                    </a:lnTo>
                    <a:lnTo>
                      <a:pt x="1451" y="753"/>
                    </a:lnTo>
                    <a:lnTo>
                      <a:pt x="1463" y="755"/>
                    </a:lnTo>
                    <a:lnTo>
                      <a:pt x="1473" y="756"/>
                    </a:lnTo>
                    <a:lnTo>
                      <a:pt x="1484" y="759"/>
                    </a:lnTo>
                    <a:lnTo>
                      <a:pt x="1495" y="762"/>
                    </a:lnTo>
                    <a:lnTo>
                      <a:pt x="1504" y="766"/>
                    </a:lnTo>
                    <a:lnTo>
                      <a:pt x="1515" y="770"/>
                    </a:lnTo>
                    <a:lnTo>
                      <a:pt x="1524" y="773"/>
                    </a:lnTo>
                    <a:lnTo>
                      <a:pt x="1534" y="779"/>
                    </a:lnTo>
                    <a:lnTo>
                      <a:pt x="1543" y="784"/>
                    </a:lnTo>
                    <a:lnTo>
                      <a:pt x="1551" y="790"/>
                    </a:lnTo>
                    <a:lnTo>
                      <a:pt x="1560" y="796"/>
                    </a:lnTo>
                    <a:lnTo>
                      <a:pt x="1569" y="802"/>
                    </a:lnTo>
                    <a:lnTo>
                      <a:pt x="1577" y="810"/>
                    </a:lnTo>
                    <a:lnTo>
                      <a:pt x="1585" y="816"/>
                    </a:lnTo>
                    <a:lnTo>
                      <a:pt x="1592" y="825"/>
                    </a:lnTo>
                    <a:lnTo>
                      <a:pt x="1598" y="833"/>
                    </a:lnTo>
                    <a:lnTo>
                      <a:pt x="1606" y="840"/>
                    </a:lnTo>
                    <a:lnTo>
                      <a:pt x="1612" y="849"/>
                    </a:lnTo>
                    <a:lnTo>
                      <a:pt x="1617" y="858"/>
                    </a:lnTo>
                    <a:lnTo>
                      <a:pt x="1623" y="868"/>
                    </a:lnTo>
                    <a:lnTo>
                      <a:pt x="1627" y="877"/>
                    </a:lnTo>
                    <a:lnTo>
                      <a:pt x="1632" y="886"/>
                    </a:lnTo>
                    <a:lnTo>
                      <a:pt x="1636" y="896"/>
                    </a:lnTo>
                    <a:lnTo>
                      <a:pt x="1639" y="907"/>
                    </a:lnTo>
                    <a:lnTo>
                      <a:pt x="1642" y="918"/>
                    </a:lnTo>
                    <a:lnTo>
                      <a:pt x="1644" y="928"/>
                    </a:lnTo>
                    <a:lnTo>
                      <a:pt x="1647" y="939"/>
                    </a:lnTo>
                    <a:lnTo>
                      <a:pt x="1649" y="950"/>
                    </a:lnTo>
                    <a:lnTo>
                      <a:pt x="1649" y="960"/>
                    </a:lnTo>
                    <a:lnTo>
                      <a:pt x="1649" y="973"/>
                    </a:lnTo>
                    <a:lnTo>
                      <a:pt x="1649" y="983"/>
                    </a:lnTo>
                    <a:lnTo>
                      <a:pt x="1649" y="995"/>
                    </a:lnTo>
                    <a:lnTo>
                      <a:pt x="1647" y="1006"/>
                    </a:lnTo>
                    <a:lnTo>
                      <a:pt x="1644" y="1017"/>
                    </a:lnTo>
                    <a:lnTo>
                      <a:pt x="1642" y="1027"/>
                    </a:lnTo>
                    <a:lnTo>
                      <a:pt x="1639" y="1038"/>
                    </a:lnTo>
                    <a:lnTo>
                      <a:pt x="1636" y="1049"/>
                    </a:lnTo>
                    <a:lnTo>
                      <a:pt x="1632" y="1058"/>
                    </a:lnTo>
                    <a:lnTo>
                      <a:pt x="1627" y="1069"/>
                    </a:lnTo>
                    <a:lnTo>
                      <a:pt x="1623" y="1078"/>
                    </a:lnTo>
                    <a:lnTo>
                      <a:pt x="1617" y="1087"/>
                    </a:lnTo>
                    <a:lnTo>
                      <a:pt x="1612" y="1096"/>
                    </a:lnTo>
                    <a:lnTo>
                      <a:pt x="1606" y="1105"/>
                    </a:lnTo>
                    <a:lnTo>
                      <a:pt x="1598" y="1113"/>
                    </a:lnTo>
                    <a:lnTo>
                      <a:pt x="1592" y="1120"/>
                    </a:lnTo>
                    <a:lnTo>
                      <a:pt x="1585" y="1128"/>
                    </a:lnTo>
                    <a:lnTo>
                      <a:pt x="1577" y="1136"/>
                    </a:lnTo>
                    <a:lnTo>
                      <a:pt x="1569" y="1143"/>
                    </a:lnTo>
                    <a:lnTo>
                      <a:pt x="1560" y="1149"/>
                    </a:lnTo>
                    <a:lnTo>
                      <a:pt x="1551" y="1155"/>
                    </a:lnTo>
                    <a:lnTo>
                      <a:pt x="1543" y="1161"/>
                    </a:lnTo>
                    <a:lnTo>
                      <a:pt x="1534" y="1166"/>
                    </a:lnTo>
                    <a:lnTo>
                      <a:pt x="1524" y="1171"/>
                    </a:lnTo>
                    <a:lnTo>
                      <a:pt x="1515" y="1175"/>
                    </a:lnTo>
                    <a:lnTo>
                      <a:pt x="1504" y="1180"/>
                    </a:lnTo>
                    <a:lnTo>
                      <a:pt x="1495" y="1183"/>
                    </a:lnTo>
                    <a:lnTo>
                      <a:pt x="1484" y="1186"/>
                    </a:lnTo>
                    <a:lnTo>
                      <a:pt x="1473" y="1189"/>
                    </a:lnTo>
                    <a:lnTo>
                      <a:pt x="1463" y="1190"/>
                    </a:lnTo>
                    <a:lnTo>
                      <a:pt x="1451" y="1192"/>
                    </a:lnTo>
                    <a:lnTo>
                      <a:pt x="1440" y="1193"/>
                    </a:lnTo>
                    <a:lnTo>
                      <a:pt x="1429" y="1193"/>
                    </a:lnTo>
                    <a:lnTo>
                      <a:pt x="1417" y="1193"/>
                    </a:lnTo>
                    <a:lnTo>
                      <a:pt x="1406" y="1192"/>
                    </a:lnTo>
                    <a:lnTo>
                      <a:pt x="1394" y="1190"/>
                    </a:lnTo>
                    <a:lnTo>
                      <a:pt x="1383" y="1189"/>
                    </a:lnTo>
                    <a:lnTo>
                      <a:pt x="1373" y="1186"/>
                    </a:lnTo>
                    <a:lnTo>
                      <a:pt x="1362" y="1183"/>
                    </a:lnTo>
                    <a:lnTo>
                      <a:pt x="1353" y="1180"/>
                    </a:lnTo>
                    <a:lnTo>
                      <a:pt x="1342" y="1175"/>
                    </a:lnTo>
                    <a:lnTo>
                      <a:pt x="1333" y="1171"/>
                    </a:lnTo>
                    <a:lnTo>
                      <a:pt x="1323" y="1166"/>
                    </a:lnTo>
                    <a:lnTo>
                      <a:pt x="1313" y="1161"/>
                    </a:lnTo>
                    <a:lnTo>
                      <a:pt x="1304" y="1155"/>
                    </a:lnTo>
                    <a:lnTo>
                      <a:pt x="1297" y="1149"/>
                    </a:lnTo>
                    <a:lnTo>
                      <a:pt x="1287" y="1143"/>
                    </a:lnTo>
                    <a:lnTo>
                      <a:pt x="1280" y="1136"/>
                    </a:lnTo>
                    <a:lnTo>
                      <a:pt x="1272" y="1128"/>
                    </a:lnTo>
                    <a:lnTo>
                      <a:pt x="1265" y="1120"/>
                    </a:lnTo>
                    <a:lnTo>
                      <a:pt x="1259" y="1113"/>
                    </a:lnTo>
                    <a:lnTo>
                      <a:pt x="1251" y="1105"/>
                    </a:lnTo>
                    <a:lnTo>
                      <a:pt x="1245" y="1096"/>
                    </a:lnTo>
                    <a:lnTo>
                      <a:pt x="1240" y="1087"/>
                    </a:lnTo>
                    <a:lnTo>
                      <a:pt x="1234" y="1078"/>
                    </a:lnTo>
                    <a:lnTo>
                      <a:pt x="1230" y="1069"/>
                    </a:lnTo>
                    <a:lnTo>
                      <a:pt x="1225" y="1058"/>
                    </a:lnTo>
                    <a:lnTo>
                      <a:pt x="1220" y="1049"/>
                    </a:lnTo>
                    <a:lnTo>
                      <a:pt x="1217" y="1038"/>
                    </a:lnTo>
                    <a:lnTo>
                      <a:pt x="1214" y="1027"/>
                    </a:lnTo>
                    <a:lnTo>
                      <a:pt x="1213" y="1017"/>
                    </a:lnTo>
                    <a:lnTo>
                      <a:pt x="1210" y="1006"/>
                    </a:lnTo>
                    <a:lnTo>
                      <a:pt x="1208" y="995"/>
                    </a:lnTo>
                    <a:lnTo>
                      <a:pt x="1208" y="983"/>
                    </a:lnTo>
                    <a:lnTo>
                      <a:pt x="1208" y="973"/>
                    </a:lnTo>
                    <a:lnTo>
                      <a:pt x="1208" y="960"/>
                    </a:lnTo>
                    <a:lnTo>
                      <a:pt x="1208" y="950"/>
                    </a:lnTo>
                    <a:lnTo>
                      <a:pt x="1210" y="939"/>
                    </a:lnTo>
                    <a:lnTo>
                      <a:pt x="1213" y="928"/>
                    </a:lnTo>
                    <a:lnTo>
                      <a:pt x="1214" y="918"/>
                    </a:lnTo>
                    <a:lnTo>
                      <a:pt x="1217" y="907"/>
                    </a:lnTo>
                    <a:lnTo>
                      <a:pt x="1220" y="896"/>
                    </a:lnTo>
                    <a:lnTo>
                      <a:pt x="1225" y="886"/>
                    </a:lnTo>
                    <a:lnTo>
                      <a:pt x="1230" y="877"/>
                    </a:lnTo>
                    <a:lnTo>
                      <a:pt x="1234" y="868"/>
                    </a:lnTo>
                    <a:lnTo>
                      <a:pt x="1240" y="858"/>
                    </a:lnTo>
                    <a:lnTo>
                      <a:pt x="1245" y="849"/>
                    </a:lnTo>
                    <a:lnTo>
                      <a:pt x="1251" y="840"/>
                    </a:lnTo>
                    <a:lnTo>
                      <a:pt x="1259" y="833"/>
                    </a:lnTo>
                    <a:lnTo>
                      <a:pt x="1265" y="825"/>
                    </a:lnTo>
                    <a:lnTo>
                      <a:pt x="1272" y="816"/>
                    </a:lnTo>
                    <a:lnTo>
                      <a:pt x="1280" y="810"/>
                    </a:lnTo>
                    <a:lnTo>
                      <a:pt x="1287" y="802"/>
                    </a:lnTo>
                    <a:lnTo>
                      <a:pt x="1297" y="796"/>
                    </a:lnTo>
                    <a:lnTo>
                      <a:pt x="1304" y="790"/>
                    </a:lnTo>
                    <a:lnTo>
                      <a:pt x="1313" y="784"/>
                    </a:lnTo>
                    <a:lnTo>
                      <a:pt x="1323" y="779"/>
                    </a:lnTo>
                    <a:lnTo>
                      <a:pt x="1333" y="773"/>
                    </a:lnTo>
                    <a:lnTo>
                      <a:pt x="1342" y="770"/>
                    </a:lnTo>
                    <a:lnTo>
                      <a:pt x="1353" y="766"/>
                    </a:lnTo>
                    <a:lnTo>
                      <a:pt x="1362" y="762"/>
                    </a:lnTo>
                    <a:lnTo>
                      <a:pt x="1373" y="759"/>
                    </a:lnTo>
                    <a:lnTo>
                      <a:pt x="1383" y="756"/>
                    </a:lnTo>
                    <a:lnTo>
                      <a:pt x="1394" y="755"/>
                    </a:lnTo>
                    <a:lnTo>
                      <a:pt x="1406" y="753"/>
                    </a:lnTo>
                    <a:lnTo>
                      <a:pt x="1417" y="752"/>
                    </a:lnTo>
                    <a:lnTo>
                      <a:pt x="1429" y="75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7177" y="635445"/>
            <a:ext cx="5973319" cy="2363787"/>
          </a:xfrm>
        </p:spPr>
        <p:txBody>
          <a:bodyPr/>
          <a:lstStyle>
            <a:lvl1pPr>
              <a:defRPr sz="42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17176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3" name="Прямоугольник 11"/>
          <p:cNvSpPr/>
          <p:nvPr userDrawn="1"/>
        </p:nvSpPr>
        <p:spPr>
          <a:xfrm>
            <a:off x="7190105" y="6103621"/>
            <a:ext cx="2641600" cy="6629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ru-RU"/>
          </a:p>
        </p:txBody>
      </p:sp>
      <p:sp>
        <p:nvSpPr>
          <p:cNvPr id="4" name="Rectangle 3"/>
          <p:cNvSpPr/>
          <p:nvPr userDrawn="1"/>
        </p:nvSpPr>
        <p:spPr>
          <a:xfrm>
            <a:off x="224465" y="6373628"/>
            <a:ext cx="292711" cy="2835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chemeClr val="accent1"/>
          </a:solidFill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59530453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860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ычны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272480" y="6326209"/>
            <a:ext cx="3120347" cy="260648"/>
          </a:xfrm>
          <a:prstGeom prst="rect">
            <a:avLst/>
          </a:prstGeom>
        </p:spPr>
        <p:txBody>
          <a:bodyPr/>
          <a:lstStyle/>
          <a:p>
            <a:fld id="{4E8ED4FF-BEFF-4E8C-9E0D-A4F30E895938}" type="datetimeFigureOut">
              <a:rPr lang="ru-RU" smtClean="0">
                <a:solidFill>
                  <a:srgbClr val="808080"/>
                </a:solidFill>
              </a:rPr>
              <a:pPr/>
              <a:t>28.08.2018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7785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_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1024x768_fon.png"/>
          <p:cNvPicPr>
            <a:picLocks noChangeAspect="1"/>
          </p:cNvPicPr>
          <p:nvPr/>
        </p:nvPicPr>
        <p:blipFill>
          <a:blip r:embed="rId4" cstate="print"/>
          <a:srcRect l="49219"/>
          <a:stretch>
            <a:fillRect/>
          </a:stretch>
        </p:blipFill>
        <p:spPr bwMode="auto">
          <a:xfrm>
            <a:off x="-743" y="1994702"/>
            <a:ext cx="9908272" cy="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/>
        </p:nvSpPr>
        <p:spPr bwMode="auto">
          <a:xfrm>
            <a:off x="168540" y="-914400"/>
            <a:ext cx="701675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1052568" y="1994703"/>
            <a:ext cx="8580953" cy="9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cxnSp>
        <p:nvCxnSpPr>
          <p:cNvPr id="9" name="Прямая соединительная линия 8"/>
          <p:cNvCxnSpPr/>
          <p:nvPr>
            <p:custDataLst>
              <p:tags r:id="rId1"/>
            </p:custDataLst>
          </p:nvPr>
        </p:nvCxnSpPr>
        <p:spPr>
          <a:xfrm>
            <a:off x="1527" y="1988840"/>
            <a:ext cx="9906000" cy="0"/>
          </a:xfrm>
          <a:prstGeom prst="line">
            <a:avLst/>
          </a:prstGeom>
          <a:noFill/>
          <a:ln w="19050" cap="sq" cmpd="sng" algn="ctr">
            <a:solidFill>
              <a:srgbClr val="8064A2">
                <a:lumMod val="75000"/>
              </a:srgbClr>
            </a:solidFill>
            <a:prstDash val="solid"/>
            <a:miter lim="800000"/>
          </a:ln>
          <a:effectLst/>
        </p:spPr>
      </p:cxnSp>
      <p:cxnSp>
        <p:nvCxnSpPr>
          <p:cNvPr id="11" name="Прямая соединительная линия 10"/>
          <p:cNvCxnSpPr/>
          <p:nvPr>
            <p:custDataLst>
              <p:tags r:id="rId2"/>
            </p:custDataLst>
          </p:nvPr>
        </p:nvCxnSpPr>
        <p:spPr>
          <a:xfrm>
            <a:off x="1527" y="2917449"/>
            <a:ext cx="9906000" cy="0"/>
          </a:xfrm>
          <a:prstGeom prst="line">
            <a:avLst/>
          </a:prstGeom>
          <a:noFill/>
          <a:ln w="19050" cap="sq" cmpd="sng" algn="ctr">
            <a:solidFill>
              <a:srgbClr val="8064A2">
                <a:lumMod val="75000"/>
              </a:srgbClr>
            </a:solidFill>
            <a:prstDash val="solid"/>
            <a:miter lim="800000"/>
          </a:ln>
          <a:effectLst/>
        </p:spPr>
      </p:cxnSp>
      <p:pic>
        <p:nvPicPr>
          <p:cNvPr id="10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840" y="191585"/>
            <a:ext cx="2144688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Овал 3"/>
          <p:cNvSpPr/>
          <p:nvPr/>
        </p:nvSpPr>
        <p:spPr bwMode="auto">
          <a:xfrm>
            <a:off x="272480" y="2204920"/>
            <a:ext cx="546000" cy="504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4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7322120" y="6586860"/>
            <a:ext cx="23114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15" name="Дата 6"/>
          <p:cNvSpPr>
            <a:spLocks noGrp="1"/>
          </p:cNvSpPr>
          <p:nvPr>
            <p:ph type="dt" sz="half" idx="2"/>
          </p:nvPr>
        </p:nvSpPr>
        <p:spPr>
          <a:xfrm>
            <a:off x="272480" y="6326209"/>
            <a:ext cx="312034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4E8ED4FF-BEFF-4E8C-9E0D-A4F30E895938}" type="datetimeFigureOut">
              <a:rPr lang="ru-RU" smtClean="0">
                <a:solidFill>
                  <a:srgbClr val="808080"/>
                </a:solidFill>
              </a:rPr>
              <a:pPr/>
              <a:t>28.08.2018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6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272481" y="6609651"/>
            <a:ext cx="31369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806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895068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C:\Users\svetlana.bashlyk\AppData\Local\Microsoft\Windows\Temporary Internet Files\Content.Outlook\I6QTL8JF\PPt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2480" y="1988840"/>
            <a:ext cx="9361040" cy="1440160"/>
          </a:xfrm>
          <a:prstGeom prst="rect">
            <a:avLst/>
          </a:prstGeom>
        </p:spPr>
        <p:txBody>
          <a:bodyPr/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2480" y="5884770"/>
            <a:ext cx="6240693" cy="42455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7322120" y="6586860"/>
            <a:ext cx="23114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10" name="Дата 6"/>
          <p:cNvSpPr>
            <a:spLocks noGrp="1"/>
          </p:cNvSpPr>
          <p:nvPr>
            <p:ph type="dt" sz="half" idx="2"/>
          </p:nvPr>
        </p:nvSpPr>
        <p:spPr>
          <a:xfrm>
            <a:off x="272480" y="6326209"/>
            <a:ext cx="312034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4E8ED4FF-BEFF-4E8C-9E0D-A4F30E895938}" type="datetimeFigureOut">
              <a:rPr lang="ru-RU" smtClean="0">
                <a:solidFill>
                  <a:srgbClr val="808080"/>
                </a:solidFill>
              </a:rPr>
              <a:pPr/>
              <a:t>28.08.2018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1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272481" y="6609651"/>
            <a:ext cx="31369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929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0571938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endParaRPr lang="ru-RU" sz="1800">
              <a:solidFill>
                <a:srgbClr val="000000"/>
              </a:solidFill>
              <a:latin typeface="Arial Narrow" pitchFamily="34" charset="0"/>
            </a:endParaRPr>
          </a:p>
        </p:txBody>
      </p:sp>
      <p:pic>
        <p:nvPicPr>
          <p:cNvPr id="10" name="Picture 9" descr="1024x768_fon.png"/>
          <p:cNvPicPr>
            <a:picLocks noChangeAspect="1"/>
          </p:cNvPicPr>
          <p:nvPr/>
        </p:nvPicPr>
        <p:blipFill>
          <a:blip r:embed="rId6" cstate="print"/>
          <a:srcRect l="49219"/>
          <a:stretch>
            <a:fillRect/>
          </a:stretch>
        </p:blipFill>
        <p:spPr bwMode="auto">
          <a:xfrm>
            <a:off x="272480" y="3"/>
            <a:ext cx="97500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1832654" y="2212854"/>
            <a:ext cx="7800867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2400" baseline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72481" y="0"/>
            <a:ext cx="0" cy="6858000"/>
          </a:xfrm>
          <a:prstGeom prst="line">
            <a:avLst/>
          </a:prstGeom>
          <a:ln w="19050" cap="sq" cmpd="sng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1281964" y="0"/>
            <a:ext cx="0" cy="6858000"/>
          </a:xfrm>
          <a:prstGeom prst="line">
            <a:avLst/>
          </a:prstGeom>
          <a:ln w="19050" cap="sq" cmpd="sng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840" y="191585"/>
            <a:ext cx="2144688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Дата 6"/>
          <p:cNvSpPr>
            <a:spLocks noGrp="1"/>
          </p:cNvSpPr>
          <p:nvPr>
            <p:ph type="dt" sz="half" idx="2"/>
          </p:nvPr>
        </p:nvSpPr>
        <p:spPr>
          <a:xfrm>
            <a:off x="272480" y="6855750"/>
            <a:ext cx="312034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4E8ED4FF-BEFF-4E8C-9E0D-A4F30E895938}" type="datetimeFigureOut">
              <a:rPr lang="ru-RU" smtClean="0">
                <a:solidFill>
                  <a:srgbClr val="808080"/>
                </a:solidFill>
              </a:rPr>
              <a:pPr/>
              <a:t>28.08.2018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6" name="Нижний колонтитул 7"/>
          <p:cNvSpPr>
            <a:spLocks noGrp="1"/>
          </p:cNvSpPr>
          <p:nvPr>
            <p:ph type="ftr" sz="quarter" idx="3"/>
          </p:nvPr>
        </p:nvSpPr>
        <p:spPr>
          <a:xfrm rot="16200000">
            <a:off x="-1311327" y="5013547"/>
            <a:ext cx="2895600" cy="2720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17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7322120" y="6586860"/>
            <a:ext cx="23114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558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2481" y="1268763"/>
            <a:ext cx="4368485" cy="4525963"/>
          </a:xfr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65035" y="1268763"/>
            <a:ext cx="4375150" cy="4525963"/>
          </a:xfr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 smtClean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2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D4FF-BEFF-4E8C-9E0D-A4F30E895938}" type="datetimeFigureOut">
              <a:rPr lang="ru-RU" smtClean="0">
                <a:solidFill>
                  <a:srgbClr val="808080"/>
                </a:solidFill>
              </a:rPr>
              <a:pPr/>
              <a:t>28.08.2018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0276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3"/>
            <a:ext cx="7254806" cy="1000125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7322120" y="6586860"/>
            <a:ext cx="23114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2"/>
          </p:nvPr>
        </p:nvSpPr>
        <p:spPr>
          <a:xfrm>
            <a:off x="272480" y="6326209"/>
            <a:ext cx="312034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4E8ED4FF-BEFF-4E8C-9E0D-A4F30E895938}" type="datetimeFigureOut">
              <a:rPr lang="ru-RU" smtClean="0">
                <a:solidFill>
                  <a:srgbClr val="808080"/>
                </a:solidFill>
              </a:rPr>
              <a:pPr/>
              <a:t>28.08.2018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272481" y="6609651"/>
            <a:ext cx="31369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299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72480" y="1268760"/>
            <a:ext cx="9361040" cy="5040560"/>
          </a:xfrm>
          <a:noFill/>
        </p:spPr>
        <p:txBody>
          <a:bodyPr/>
          <a:lstStyle>
            <a:lvl1pPr marL="190500" indent="-190500">
              <a:buFontTx/>
              <a:buNone/>
              <a:defRPr>
                <a:solidFill>
                  <a:srgbClr val="002060"/>
                </a:solidFill>
                <a:latin typeface="+mn-lt"/>
              </a:defRPr>
            </a:lvl1pPr>
            <a:lvl2pPr marL="360363" indent="-184150">
              <a:defRPr>
                <a:solidFill>
                  <a:srgbClr val="002060"/>
                </a:solidFill>
                <a:latin typeface="+mn-lt"/>
              </a:defRPr>
            </a:lvl2pPr>
            <a:lvl3pPr marL="533400" indent="-171450">
              <a:buFont typeface="Arial" pitchFamily="34" charset="0"/>
              <a:buChar char="–"/>
              <a:defRPr>
                <a:solidFill>
                  <a:srgbClr val="002060"/>
                </a:solidFill>
                <a:latin typeface="+mn-lt"/>
              </a:defRPr>
            </a:lvl3pPr>
            <a:lvl4pPr marL="720725" indent="-176213" defTabSz="896938">
              <a:buSzPct val="50000"/>
              <a:defRPr>
                <a:solidFill>
                  <a:srgbClr val="002060"/>
                </a:solidFill>
                <a:latin typeface="+mn-lt"/>
              </a:defRPr>
            </a:lvl4pPr>
            <a:lvl5pPr marL="893763" indent="-171450">
              <a:buFont typeface="Arial" pitchFamily="34" charset="0"/>
              <a:buChar char="–"/>
              <a:defRPr>
                <a:solidFill>
                  <a:srgbClr val="002060"/>
                </a:solidFill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D4FF-BEFF-4E8C-9E0D-A4F30E895938}" type="datetimeFigureOut">
              <a:rPr lang="ru-RU" smtClean="0">
                <a:solidFill>
                  <a:srgbClr val="808080"/>
                </a:solidFill>
              </a:rPr>
              <a:pPr/>
              <a:t>28.08.2018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855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ычны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D4FF-BEFF-4E8C-9E0D-A4F30E895938}" type="datetimeFigureOut">
              <a:rPr lang="ru-RU" smtClean="0">
                <a:solidFill>
                  <a:srgbClr val="808080"/>
                </a:solidFill>
              </a:rPr>
              <a:pPr/>
              <a:t>28.08.2018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78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545939"/>
            <a:ext cx="9906000" cy="4022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251362" y="-14567"/>
            <a:ext cx="9654638" cy="6026420"/>
            <a:chOff x="251362" y="-14567"/>
            <a:chExt cx="9654638" cy="6026420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 flipH="1">
              <a:off x="870000" y="-13390"/>
              <a:ext cx="9036000" cy="6025243"/>
            </a:xfrm>
            <a:custGeom>
              <a:avLst/>
              <a:gdLst>
                <a:gd name="T0" fmla="*/ 0 w 6236"/>
                <a:gd name="T1" fmla="*/ 4030 h 4217"/>
                <a:gd name="T2" fmla="*/ 121 w 6236"/>
                <a:gd name="T3" fmla="*/ 4062 h 4217"/>
                <a:gd name="T4" fmla="*/ 359 w 6236"/>
                <a:gd name="T5" fmla="*/ 4117 h 4217"/>
                <a:gd name="T6" fmla="*/ 601 w 6236"/>
                <a:gd name="T7" fmla="*/ 4160 h 4217"/>
                <a:gd name="T8" fmla="*/ 849 w 6236"/>
                <a:gd name="T9" fmla="*/ 4193 h 4217"/>
                <a:gd name="T10" fmla="*/ 1101 w 6236"/>
                <a:gd name="T11" fmla="*/ 4212 h 4217"/>
                <a:gd name="T12" fmla="*/ 1354 w 6236"/>
                <a:gd name="T13" fmla="*/ 4217 h 4217"/>
                <a:gd name="T14" fmla="*/ 1607 w 6236"/>
                <a:gd name="T15" fmla="*/ 4212 h 4217"/>
                <a:gd name="T16" fmla="*/ 1859 w 6236"/>
                <a:gd name="T17" fmla="*/ 4193 h 4217"/>
                <a:gd name="T18" fmla="*/ 2105 w 6236"/>
                <a:gd name="T19" fmla="*/ 4160 h 4217"/>
                <a:gd name="T20" fmla="*/ 2349 w 6236"/>
                <a:gd name="T21" fmla="*/ 4117 h 4217"/>
                <a:gd name="T22" fmla="*/ 2587 w 6236"/>
                <a:gd name="T23" fmla="*/ 4062 h 4217"/>
                <a:gd name="T24" fmla="*/ 2821 w 6236"/>
                <a:gd name="T25" fmla="*/ 3996 h 4217"/>
                <a:gd name="T26" fmla="*/ 3050 w 6236"/>
                <a:gd name="T27" fmla="*/ 3918 h 4217"/>
                <a:gd name="T28" fmla="*/ 3275 w 6236"/>
                <a:gd name="T29" fmla="*/ 3830 h 4217"/>
                <a:gd name="T30" fmla="*/ 3493 w 6236"/>
                <a:gd name="T31" fmla="*/ 3731 h 4217"/>
                <a:gd name="T32" fmla="*/ 3706 w 6236"/>
                <a:gd name="T33" fmla="*/ 3623 h 4217"/>
                <a:gd name="T34" fmla="*/ 3912 w 6236"/>
                <a:gd name="T35" fmla="*/ 3504 h 4217"/>
                <a:gd name="T36" fmla="*/ 4113 w 6236"/>
                <a:gd name="T37" fmla="*/ 3376 h 4217"/>
                <a:gd name="T38" fmla="*/ 4306 w 6236"/>
                <a:gd name="T39" fmla="*/ 3238 h 4217"/>
                <a:gd name="T40" fmla="*/ 4493 w 6236"/>
                <a:gd name="T41" fmla="*/ 3092 h 4217"/>
                <a:gd name="T42" fmla="*/ 4671 w 6236"/>
                <a:gd name="T43" fmla="*/ 2937 h 4217"/>
                <a:gd name="T44" fmla="*/ 4843 w 6236"/>
                <a:gd name="T45" fmla="*/ 2772 h 4217"/>
                <a:gd name="T46" fmla="*/ 5005 w 6236"/>
                <a:gd name="T47" fmla="*/ 2602 h 4217"/>
                <a:gd name="T48" fmla="*/ 5160 w 6236"/>
                <a:gd name="T49" fmla="*/ 2423 h 4217"/>
                <a:gd name="T50" fmla="*/ 5308 w 6236"/>
                <a:gd name="T51" fmla="*/ 2235 h 4217"/>
                <a:gd name="T52" fmla="*/ 5446 w 6236"/>
                <a:gd name="T53" fmla="*/ 2042 h 4217"/>
                <a:gd name="T54" fmla="*/ 5573 w 6236"/>
                <a:gd name="T55" fmla="*/ 1842 h 4217"/>
                <a:gd name="T56" fmla="*/ 5692 w 6236"/>
                <a:gd name="T57" fmla="*/ 1636 h 4217"/>
                <a:gd name="T58" fmla="*/ 5801 w 6236"/>
                <a:gd name="T59" fmla="*/ 1422 h 4217"/>
                <a:gd name="T60" fmla="*/ 5900 w 6236"/>
                <a:gd name="T61" fmla="*/ 1205 h 4217"/>
                <a:gd name="T62" fmla="*/ 5989 w 6236"/>
                <a:gd name="T63" fmla="*/ 980 h 4217"/>
                <a:gd name="T64" fmla="*/ 6066 w 6236"/>
                <a:gd name="T65" fmla="*/ 751 h 4217"/>
                <a:gd name="T66" fmla="*/ 6132 w 6236"/>
                <a:gd name="T67" fmla="*/ 516 h 4217"/>
                <a:gd name="T68" fmla="*/ 6187 w 6236"/>
                <a:gd name="T69" fmla="*/ 278 h 4217"/>
                <a:gd name="T70" fmla="*/ 6231 w 6236"/>
                <a:gd name="T71" fmla="*/ 34 h 4217"/>
                <a:gd name="T72" fmla="*/ 0 w 6236"/>
                <a:gd name="T73" fmla="*/ 0 h 4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36" h="4217">
                  <a:moveTo>
                    <a:pt x="0" y="0"/>
                  </a:moveTo>
                  <a:lnTo>
                    <a:pt x="0" y="4030"/>
                  </a:lnTo>
                  <a:lnTo>
                    <a:pt x="4" y="4030"/>
                  </a:lnTo>
                  <a:lnTo>
                    <a:pt x="121" y="4062"/>
                  </a:lnTo>
                  <a:lnTo>
                    <a:pt x="240" y="4092"/>
                  </a:lnTo>
                  <a:lnTo>
                    <a:pt x="359" y="4117"/>
                  </a:lnTo>
                  <a:lnTo>
                    <a:pt x="480" y="4142"/>
                  </a:lnTo>
                  <a:lnTo>
                    <a:pt x="601" y="4160"/>
                  </a:lnTo>
                  <a:lnTo>
                    <a:pt x="726" y="4178"/>
                  </a:lnTo>
                  <a:lnTo>
                    <a:pt x="849" y="4193"/>
                  </a:lnTo>
                  <a:lnTo>
                    <a:pt x="974" y="4204"/>
                  </a:lnTo>
                  <a:lnTo>
                    <a:pt x="1101" y="4212"/>
                  </a:lnTo>
                  <a:lnTo>
                    <a:pt x="1227" y="4217"/>
                  </a:lnTo>
                  <a:lnTo>
                    <a:pt x="1354" y="4217"/>
                  </a:lnTo>
                  <a:lnTo>
                    <a:pt x="1481" y="4217"/>
                  </a:lnTo>
                  <a:lnTo>
                    <a:pt x="1607" y="4212"/>
                  </a:lnTo>
                  <a:lnTo>
                    <a:pt x="1734" y="4204"/>
                  </a:lnTo>
                  <a:lnTo>
                    <a:pt x="1859" y="4193"/>
                  </a:lnTo>
                  <a:lnTo>
                    <a:pt x="1982" y="4178"/>
                  </a:lnTo>
                  <a:lnTo>
                    <a:pt x="2105" y="4160"/>
                  </a:lnTo>
                  <a:lnTo>
                    <a:pt x="2227" y="4142"/>
                  </a:lnTo>
                  <a:lnTo>
                    <a:pt x="2349" y="4117"/>
                  </a:lnTo>
                  <a:lnTo>
                    <a:pt x="2468" y="4092"/>
                  </a:lnTo>
                  <a:lnTo>
                    <a:pt x="2587" y="4062"/>
                  </a:lnTo>
                  <a:lnTo>
                    <a:pt x="2704" y="4030"/>
                  </a:lnTo>
                  <a:lnTo>
                    <a:pt x="2821" y="3996"/>
                  </a:lnTo>
                  <a:lnTo>
                    <a:pt x="2937" y="3958"/>
                  </a:lnTo>
                  <a:lnTo>
                    <a:pt x="3050" y="3918"/>
                  </a:lnTo>
                  <a:lnTo>
                    <a:pt x="3163" y="3875"/>
                  </a:lnTo>
                  <a:lnTo>
                    <a:pt x="3275" y="3830"/>
                  </a:lnTo>
                  <a:lnTo>
                    <a:pt x="3385" y="3782"/>
                  </a:lnTo>
                  <a:lnTo>
                    <a:pt x="3493" y="3731"/>
                  </a:lnTo>
                  <a:lnTo>
                    <a:pt x="3600" y="3678"/>
                  </a:lnTo>
                  <a:lnTo>
                    <a:pt x="3706" y="3623"/>
                  </a:lnTo>
                  <a:lnTo>
                    <a:pt x="3810" y="3565"/>
                  </a:lnTo>
                  <a:lnTo>
                    <a:pt x="3912" y="3504"/>
                  </a:lnTo>
                  <a:lnTo>
                    <a:pt x="4013" y="3440"/>
                  </a:lnTo>
                  <a:lnTo>
                    <a:pt x="4113" y="3376"/>
                  </a:lnTo>
                  <a:lnTo>
                    <a:pt x="4209" y="3308"/>
                  </a:lnTo>
                  <a:lnTo>
                    <a:pt x="4306" y="3238"/>
                  </a:lnTo>
                  <a:lnTo>
                    <a:pt x="4400" y="3166"/>
                  </a:lnTo>
                  <a:lnTo>
                    <a:pt x="4493" y="3092"/>
                  </a:lnTo>
                  <a:lnTo>
                    <a:pt x="4582" y="3014"/>
                  </a:lnTo>
                  <a:lnTo>
                    <a:pt x="4671" y="2937"/>
                  </a:lnTo>
                  <a:lnTo>
                    <a:pt x="4758" y="2856"/>
                  </a:lnTo>
                  <a:lnTo>
                    <a:pt x="4843" y="2772"/>
                  </a:lnTo>
                  <a:lnTo>
                    <a:pt x="4926" y="2687"/>
                  </a:lnTo>
                  <a:lnTo>
                    <a:pt x="5005" y="2602"/>
                  </a:lnTo>
                  <a:lnTo>
                    <a:pt x="5085" y="2513"/>
                  </a:lnTo>
                  <a:lnTo>
                    <a:pt x="5160" y="2423"/>
                  </a:lnTo>
                  <a:lnTo>
                    <a:pt x="5236" y="2330"/>
                  </a:lnTo>
                  <a:lnTo>
                    <a:pt x="5308" y="2235"/>
                  </a:lnTo>
                  <a:lnTo>
                    <a:pt x="5378" y="2141"/>
                  </a:lnTo>
                  <a:lnTo>
                    <a:pt x="5446" y="2042"/>
                  </a:lnTo>
                  <a:lnTo>
                    <a:pt x="5510" y="1944"/>
                  </a:lnTo>
                  <a:lnTo>
                    <a:pt x="5573" y="1842"/>
                  </a:lnTo>
                  <a:lnTo>
                    <a:pt x="5635" y="1740"/>
                  </a:lnTo>
                  <a:lnTo>
                    <a:pt x="5692" y="1636"/>
                  </a:lnTo>
                  <a:lnTo>
                    <a:pt x="5748" y="1530"/>
                  </a:lnTo>
                  <a:lnTo>
                    <a:pt x="5801" y="1422"/>
                  </a:lnTo>
                  <a:lnTo>
                    <a:pt x="5852" y="1314"/>
                  </a:lnTo>
                  <a:lnTo>
                    <a:pt x="5900" y="1205"/>
                  </a:lnTo>
                  <a:lnTo>
                    <a:pt x="5945" y="1093"/>
                  </a:lnTo>
                  <a:lnTo>
                    <a:pt x="5989" y="980"/>
                  </a:lnTo>
                  <a:lnTo>
                    <a:pt x="6028" y="866"/>
                  </a:lnTo>
                  <a:lnTo>
                    <a:pt x="6066" y="751"/>
                  </a:lnTo>
                  <a:lnTo>
                    <a:pt x="6100" y="634"/>
                  </a:lnTo>
                  <a:lnTo>
                    <a:pt x="6132" y="516"/>
                  </a:lnTo>
                  <a:lnTo>
                    <a:pt x="6161" y="397"/>
                  </a:lnTo>
                  <a:lnTo>
                    <a:pt x="6187" y="278"/>
                  </a:lnTo>
                  <a:lnTo>
                    <a:pt x="6210" y="157"/>
                  </a:lnTo>
                  <a:lnTo>
                    <a:pt x="6231" y="34"/>
                  </a:lnTo>
                  <a:lnTo>
                    <a:pt x="62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5" name="Группа 4"/>
            <p:cNvGrpSpPr/>
            <p:nvPr userDrawn="1"/>
          </p:nvGrpSpPr>
          <p:grpSpPr>
            <a:xfrm>
              <a:off x="251362" y="-14567"/>
              <a:ext cx="1832431" cy="1472099"/>
              <a:chOff x="251362" y="-14567"/>
              <a:chExt cx="1832431" cy="1472099"/>
            </a:xfrm>
          </p:grpSpPr>
          <p:sp>
            <p:nvSpPr>
              <p:cNvPr id="28" name="Freeform 6"/>
              <p:cNvSpPr>
                <a:spLocks/>
              </p:cNvSpPr>
              <p:nvPr userDrawn="1"/>
            </p:nvSpPr>
            <p:spPr bwMode="auto">
              <a:xfrm>
                <a:off x="251362" y="-14566"/>
                <a:ext cx="1832431" cy="1472098"/>
              </a:xfrm>
              <a:custGeom>
                <a:avLst/>
                <a:gdLst>
                  <a:gd name="T0" fmla="*/ 12 w 5023"/>
                  <a:gd name="T1" fmla="*/ 1760 h 4013"/>
                  <a:gd name="T2" fmla="*/ 79 w 5023"/>
                  <a:gd name="T3" fmla="*/ 2130 h 4013"/>
                  <a:gd name="T4" fmla="*/ 197 w 5023"/>
                  <a:gd name="T5" fmla="*/ 2480 h 4013"/>
                  <a:gd name="T6" fmla="*/ 364 w 5023"/>
                  <a:gd name="T7" fmla="*/ 2804 h 4013"/>
                  <a:gd name="T8" fmla="*/ 573 w 5023"/>
                  <a:gd name="T9" fmla="*/ 3100 h 4013"/>
                  <a:gd name="T10" fmla="*/ 823 w 5023"/>
                  <a:gd name="T11" fmla="*/ 3362 h 4013"/>
                  <a:gd name="T12" fmla="*/ 1108 w 5023"/>
                  <a:gd name="T13" fmla="*/ 3584 h 4013"/>
                  <a:gd name="T14" fmla="*/ 1423 w 5023"/>
                  <a:gd name="T15" fmla="*/ 3765 h 4013"/>
                  <a:gd name="T16" fmla="*/ 1764 w 5023"/>
                  <a:gd name="T17" fmla="*/ 3901 h 4013"/>
                  <a:gd name="T18" fmla="*/ 2130 w 5023"/>
                  <a:gd name="T19" fmla="*/ 3984 h 4013"/>
                  <a:gd name="T20" fmla="*/ 2513 w 5023"/>
                  <a:gd name="T21" fmla="*/ 4013 h 4013"/>
                  <a:gd name="T22" fmla="*/ 2895 w 5023"/>
                  <a:gd name="T23" fmla="*/ 3984 h 4013"/>
                  <a:gd name="T24" fmla="*/ 3259 w 5023"/>
                  <a:gd name="T25" fmla="*/ 3901 h 4013"/>
                  <a:gd name="T26" fmla="*/ 3600 w 5023"/>
                  <a:gd name="T27" fmla="*/ 3765 h 4013"/>
                  <a:gd name="T28" fmla="*/ 3916 w 5023"/>
                  <a:gd name="T29" fmla="*/ 3584 h 4013"/>
                  <a:gd name="T30" fmla="*/ 4201 w 5023"/>
                  <a:gd name="T31" fmla="*/ 3362 h 4013"/>
                  <a:gd name="T32" fmla="*/ 4451 w 5023"/>
                  <a:gd name="T33" fmla="*/ 3100 h 4013"/>
                  <a:gd name="T34" fmla="*/ 4661 w 5023"/>
                  <a:gd name="T35" fmla="*/ 2804 h 4013"/>
                  <a:gd name="T36" fmla="*/ 4827 w 5023"/>
                  <a:gd name="T37" fmla="*/ 2480 h 4013"/>
                  <a:gd name="T38" fmla="*/ 4944 w 5023"/>
                  <a:gd name="T39" fmla="*/ 2130 h 4013"/>
                  <a:gd name="T40" fmla="*/ 5011 w 5023"/>
                  <a:gd name="T41" fmla="*/ 1760 h 4013"/>
                  <a:gd name="T42" fmla="*/ 5023 w 5023"/>
                  <a:gd name="T43" fmla="*/ 1451 h 4013"/>
                  <a:gd name="T44" fmla="*/ 5016 w 5023"/>
                  <a:gd name="T45" fmla="*/ 1294 h 4013"/>
                  <a:gd name="T46" fmla="*/ 4998 w 5023"/>
                  <a:gd name="T47" fmla="*/ 1140 h 4013"/>
                  <a:gd name="T48" fmla="*/ 4972 w 5023"/>
                  <a:gd name="T49" fmla="*/ 989 h 4013"/>
                  <a:gd name="T50" fmla="*/ 4935 w 5023"/>
                  <a:gd name="T51" fmla="*/ 842 h 4013"/>
                  <a:gd name="T52" fmla="*/ 4892 w 5023"/>
                  <a:gd name="T53" fmla="*/ 697 h 4013"/>
                  <a:gd name="T54" fmla="*/ 4839 w 5023"/>
                  <a:gd name="T55" fmla="*/ 557 h 4013"/>
                  <a:gd name="T56" fmla="*/ 4780 w 5023"/>
                  <a:gd name="T57" fmla="*/ 420 h 4013"/>
                  <a:gd name="T58" fmla="*/ 4711 w 5023"/>
                  <a:gd name="T59" fmla="*/ 289 h 4013"/>
                  <a:gd name="T60" fmla="*/ 4635 w 5023"/>
                  <a:gd name="T61" fmla="*/ 161 h 4013"/>
                  <a:gd name="T62" fmla="*/ 4553 w 5023"/>
                  <a:gd name="T63" fmla="*/ 39 h 4013"/>
                  <a:gd name="T64" fmla="*/ 471 w 5023"/>
                  <a:gd name="T65" fmla="*/ 39 h 4013"/>
                  <a:gd name="T66" fmla="*/ 389 w 5023"/>
                  <a:gd name="T67" fmla="*/ 161 h 4013"/>
                  <a:gd name="T68" fmla="*/ 312 w 5023"/>
                  <a:gd name="T69" fmla="*/ 289 h 4013"/>
                  <a:gd name="T70" fmla="*/ 245 w 5023"/>
                  <a:gd name="T71" fmla="*/ 420 h 4013"/>
                  <a:gd name="T72" fmla="*/ 184 w 5023"/>
                  <a:gd name="T73" fmla="*/ 557 h 4013"/>
                  <a:gd name="T74" fmla="*/ 133 w 5023"/>
                  <a:gd name="T75" fmla="*/ 697 h 4013"/>
                  <a:gd name="T76" fmla="*/ 88 w 5023"/>
                  <a:gd name="T77" fmla="*/ 842 h 4013"/>
                  <a:gd name="T78" fmla="*/ 52 w 5023"/>
                  <a:gd name="T79" fmla="*/ 989 h 4013"/>
                  <a:gd name="T80" fmla="*/ 26 w 5023"/>
                  <a:gd name="T81" fmla="*/ 1140 h 4013"/>
                  <a:gd name="T82" fmla="*/ 9 w 5023"/>
                  <a:gd name="T83" fmla="*/ 1294 h 4013"/>
                  <a:gd name="T84" fmla="*/ 0 w 5023"/>
                  <a:gd name="T85" fmla="*/ 1451 h 4013"/>
                  <a:gd name="T86" fmla="*/ 0 w 5023"/>
                  <a:gd name="T87" fmla="*/ 1518 h 4013"/>
                  <a:gd name="T88" fmla="*/ 0 w 5023"/>
                  <a:gd name="T89" fmla="*/ 1516 h 4013"/>
                  <a:gd name="T90" fmla="*/ 0 w 5023"/>
                  <a:gd name="T91" fmla="*/ 1507 h 4013"/>
                  <a:gd name="T92" fmla="*/ 0 w 5023"/>
                  <a:gd name="T93" fmla="*/ 1501 h 4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23" h="4013">
                    <a:moveTo>
                      <a:pt x="0" y="1502"/>
                    </a:moveTo>
                    <a:lnTo>
                      <a:pt x="3" y="1632"/>
                    </a:lnTo>
                    <a:lnTo>
                      <a:pt x="12" y="1760"/>
                    </a:lnTo>
                    <a:lnTo>
                      <a:pt x="29" y="1885"/>
                    </a:lnTo>
                    <a:lnTo>
                      <a:pt x="50" y="2010"/>
                    </a:lnTo>
                    <a:lnTo>
                      <a:pt x="79" y="2130"/>
                    </a:lnTo>
                    <a:lnTo>
                      <a:pt x="113" y="2250"/>
                    </a:lnTo>
                    <a:lnTo>
                      <a:pt x="152" y="2366"/>
                    </a:lnTo>
                    <a:lnTo>
                      <a:pt x="197" y="2480"/>
                    </a:lnTo>
                    <a:lnTo>
                      <a:pt x="248" y="2591"/>
                    </a:lnTo>
                    <a:lnTo>
                      <a:pt x="303" y="2699"/>
                    </a:lnTo>
                    <a:lnTo>
                      <a:pt x="364" y="2804"/>
                    </a:lnTo>
                    <a:lnTo>
                      <a:pt x="430" y="2906"/>
                    </a:lnTo>
                    <a:lnTo>
                      <a:pt x="498" y="3005"/>
                    </a:lnTo>
                    <a:lnTo>
                      <a:pt x="573" y="3100"/>
                    </a:lnTo>
                    <a:lnTo>
                      <a:pt x="652" y="3191"/>
                    </a:lnTo>
                    <a:lnTo>
                      <a:pt x="736" y="3278"/>
                    </a:lnTo>
                    <a:lnTo>
                      <a:pt x="823" y="3362"/>
                    </a:lnTo>
                    <a:lnTo>
                      <a:pt x="914" y="3441"/>
                    </a:lnTo>
                    <a:lnTo>
                      <a:pt x="1009" y="3514"/>
                    </a:lnTo>
                    <a:lnTo>
                      <a:pt x="1108" y="3584"/>
                    </a:lnTo>
                    <a:lnTo>
                      <a:pt x="1210" y="3649"/>
                    </a:lnTo>
                    <a:lnTo>
                      <a:pt x="1315" y="3710"/>
                    </a:lnTo>
                    <a:lnTo>
                      <a:pt x="1423" y="3765"/>
                    </a:lnTo>
                    <a:lnTo>
                      <a:pt x="1534" y="3815"/>
                    </a:lnTo>
                    <a:lnTo>
                      <a:pt x="1649" y="3861"/>
                    </a:lnTo>
                    <a:lnTo>
                      <a:pt x="1764" y="3901"/>
                    </a:lnTo>
                    <a:lnTo>
                      <a:pt x="1885" y="3934"/>
                    </a:lnTo>
                    <a:lnTo>
                      <a:pt x="2005" y="3963"/>
                    </a:lnTo>
                    <a:lnTo>
                      <a:pt x="2130" y="3984"/>
                    </a:lnTo>
                    <a:lnTo>
                      <a:pt x="2255" y="4001"/>
                    </a:lnTo>
                    <a:lnTo>
                      <a:pt x="2383" y="4010"/>
                    </a:lnTo>
                    <a:lnTo>
                      <a:pt x="2513" y="4013"/>
                    </a:lnTo>
                    <a:lnTo>
                      <a:pt x="2642" y="4010"/>
                    </a:lnTo>
                    <a:lnTo>
                      <a:pt x="2768" y="4001"/>
                    </a:lnTo>
                    <a:lnTo>
                      <a:pt x="2895" y="3984"/>
                    </a:lnTo>
                    <a:lnTo>
                      <a:pt x="3018" y="3963"/>
                    </a:lnTo>
                    <a:lnTo>
                      <a:pt x="3140" y="3934"/>
                    </a:lnTo>
                    <a:lnTo>
                      <a:pt x="3259" y="3901"/>
                    </a:lnTo>
                    <a:lnTo>
                      <a:pt x="3376" y="3861"/>
                    </a:lnTo>
                    <a:lnTo>
                      <a:pt x="3489" y="3815"/>
                    </a:lnTo>
                    <a:lnTo>
                      <a:pt x="3600" y="3765"/>
                    </a:lnTo>
                    <a:lnTo>
                      <a:pt x="3710" y="3710"/>
                    </a:lnTo>
                    <a:lnTo>
                      <a:pt x="3815" y="3649"/>
                    </a:lnTo>
                    <a:lnTo>
                      <a:pt x="3916" y="3584"/>
                    </a:lnTo>
                    <a:lnTo>
                      <a:pt x="4015" y="3514"/>
                    </a:lnTo>
                    <a:lnTo>
                      <a:pt x="4109" y="3441"/>
                    </a:lnTo>
                    <a:lnTo>
                      <a:pt x="4201" y="3362"/>
                    </a:lnTo>
                    <a:lnTo>
                      <a:pt x="4288" y="3278"/>
                    </a:lnTo>
                    <a:lnTo>
                      <a:pt x="4371" y="3191"/>
                    </a:lnTo>
                    <a:lnTo>
                      <a:pt x="4451" y="3100"/>
                    </a:lnTo>
                    <a:lnTo>
                      <a:pt x="4525" y="3005"/>
                    </a:lnTo>
                    <a:lnTo>
                      <a:pt x="4595" y="2906"/>
                    </a:lnTo>
                    <a:lnTo>
                      <a:pt x="4661" y="2804"/>
                    </a:lnTo>
                    <a:lnTo>
                      <a:pt x="4720" y="2699"/>
                    </a:lnTo>
                    <a:lnTo>
                      <a:pt x="4777" y="2591"/>
                    </a:lnTo>
                    <a:lnTo>
                      <a:pt x="4827" y="2480"/>
                    </a:lnTo>
                    <a:lnTo>
                      <a:pt x="4871" y="2366"/>
                    </a:lnTo>
                    <a:lnTo>
                      <a:pt x="4911" y="2250"/>
                    </a:lnTo>
                    <a:lnTo>
                      <a:pt x="4944" y="2130"/>
                    </a:lnTo>
                    <a:lnTo>
                      <a:pt x="4973" y="2010"/>
                    </a:lnTo>
                    <a:lnTo>
                      <a:pt x="4995" y="1885"/>
                    </a:lnTo>
                    <a:lnTo>
                      <a:pt x="5011" y="1760"/>
                    </a:lnTo>
                    <a:lnTo>
                      <a:pt x="5020" y="1632"/>
                    </a:lnTo>
                    <a:lnTo>
                      <a:pt x="5023" y="1502"/>
                    </a:lnTo>
                    <a:lnTo>
                      <a:pt x="5023" y="1451"/>
                    </a:lnTo>
                    <a:lnTo>
                      <a:pt x="5022" y="1397"/>
                    </a:lnTo>
                    <a:lnTo>
                      <a:pt x="5019" y="1346"/>
                    </a:lnTo>
                    <a:lnTo>
                      <a:pt x="5016" y="1294"/>
                    </a:lnTo>
                    <a:lnTo>
                      <a:pt x="5011" y="1242"/>
                    </a:lnTo>
                    <a:lnTo>
                      <a:pt x="5005" y="1190"/>
                    </a:lnTo>
                    <a:lnTo>
                      <a:pt x="4998" y="1140"/>
                    </a:lnTo>
                    <a:lnTo>
                      <a:pt x="4990" y="1090"/>
                    </a:lnTo>
                    <a:lnTo>
                      <a:pt x="4981" y="1038"/>
                    </a:lnTo>
                    <a:lnTo>
                      <a:pt x="4972" y="989"/>
                    </a:lnTo>
                    <a:lnTo>
                      <a:pt x="4961" y="939"/>
                    </a:lnTo>
                    <a:lnTo>
                      <a:pt x="4949" y="890"/>
                    </a:lnTo>
                    <a:lnTo>
                      <a:pt x="4935" y="842"/>
                    </a:lnTo>
                    <a:lnTo>
                      <a:pt x="4921" y="793"/>
                    </a:lnTo>
                    <a:lnTo>
                      <a:pt x="4908" y="744"/>
                    </a:lnTo>
                    <a:lnTo>
                      <a:pt x="4892" y="697"/>
                    </a:lnTo>
                    <a:lnTo>
                      <a:pt x="4876" y="650"/>
                    </a:lnTo>
                    <a:lnTo>
                      <a:pt x="4857" y="603"/>
                    </a:lnTo>
                    <a:lnTo>
                      <a:pt x="4839" y="557"/>
                    </a:lnTo>
                    <a:lnTo>
                      <a:pt x="4821" y="511"/>
                    </a:lnTo>
                    <a:lnTo>
                      <a:pt x="4800" y="466"/>
                    </a:lnTo>
                    <a:lnTo>
                      <a:pt x="4780" y="420"/>
                    </a:lnTo>
                    <a:lnTo>
                      <a:pt x="4757" y="376"/>
                    </a:lnTo>
                    <a:lnTo>
                      <a:pt x="4734" y="332"/>
                    </a:lnTo>
                    <a:lnTo>
                      <a:pt x="4711" y="289"/>
                    </a:lnTo>
                    <a:lnTo>
                      <a:pt x="4687" y="246"/>
                    </a:lnTo>
                    <a:lnTo>
                      <a:pt x="4662" y="204"/>
                    </a:lnTo>
                    <a:lnTo>
                      <a:pt x="4635" y="161"/>
                    </a:lnTo>
                    <a:lnTo>
                      <a:pt x="4609" y="120"/>
                    </a:lnTo>
                    <a:lnTo>
                      <a:pt x="4582" y="79"/>
                    </a:lnTo>
                    <a:lnTo>
                      <a:pt x="4553" y="39"/>
                    </a:lnTo>
                    <a:lnTo>
                      <a:pt x="4524" y="0"/>
                    </a:lnTo>
                    <a:lnTo>
                      <a:pt x="500" y="0"/>
                    </a:lnTo>
                    <a:lnTo>
                      <a:pt x="471" y="39"/>
                    </a:lnTo>
                    <a:lnTo>
                      <a:pt x="442" y="79"/>
                    </a:lnTo>
                    <a:lnTo>
                      <a:pt x="414" y="120"/>
                    </a:lnTo>
                    <a:lnTo>
                      <a:pt x="389" y="161"/>
                    </a:lnTo>
                    <a:lnTo>
                      <a:pt x="363" y="204"/>
                    </a:lnTo>
                    <a:lnTo>
                      <a:pt x="337" y="246"/>
                    </a:lnTo>
                    <a:lnTo>
                      <a:pt x="312" y="289"/>
                    </a:lnTo>
                    <a:lnTo>
                      <a:pt x="290" y="332"/>
                    </a:lnTo>
                    <a:lnTo>
                      <a:pt x="267" y="376"/>
                    </a:lnTo>
                    <a:lnTo>
                      <a:pt x="245" y="420"/>
                    </a:lnTo>
                    <a:lnTo>
                      <a:pt x="224" y="466"/>
                    </a:lnTo>
                    <a:lnTo>
                      <a:pt x="204" y="511"/>
                    </a:lnTo>
                    <a:lnTo>
                      <a:pt x="184" y="557"/>
                    </a:lnTo>
                    <a:lnTo>
                      <a:pt x="166" y="603"/>
                    </a:lnTo>
                    <a:lnTo>
                      <a:pt x="149" y="650"/>
                    </a:lnTo>
                    <a:lnTo>
                      <a:pt x="133" y="697"/>
                    </a:lnTo>
                    <a:lnTo>
                      <a:pt x="116" y="744"/>
                    </a:lnTo>
                    <a:lnTo>
                      <a:pt x="102" y="793"/>
                    </a:lnTo>
                    <a:lnTo>
                      <a:pt x="88" y="842"/>
                    </a:lnTo>
                    <a:lnTo>
                      <a:pt x="75" y="890"/>
                    </a:lnTo>
                    <a:lnTo>
                      <a:pt x="64" y="939"/>
                    </a:lnTo>
                    <a:lnTo>
                      <a:pt x="52" y="989"/>
                    </a:lnTo>
                    <a:lnTo>
                      <a:pt x="43" y="1038"/>
                    </a:lnTo>
                    <a:lnTo>
                      <a:pt x="34" y="1090"/>
                    </a:lnTo>
                    <a:lnTo>
                      <a:pt x="26" y="1140"/>
                    </a:lnTo>
                    <a:lnTo>
                      <a:pt x="20" y="1190"/>
                    </a:lnTo>
                    <a:lnTo>
                      <a:pt x="14" y="1242"/>
                    </a:lnTo>
                    <a:lnTo>
                      <a:pt x="9" y="1294"/>
                    </a:lnTo>
                    <a:lnTo>
                      <a:pt x="5" y="1346"/>
                    </a:lnTo>
                    <a:lnTo>
                      <a:pt x="2" y="1397"/>
                    </a:lnTo>
                    <a:lnTo>
                      <a:pt x="0" y="1451"/>
                    </a:lnTo>
                    <a:lnTo>
                      <a:pt x="0" y="1502"/>
                    </a:lnTo>
                    <a:lnTo>
                      <a:pt x="0" y="1515"/>
                    </a:lnTo>
                    <a:lnTo>
                      <a:pt x="0" y="1518"/>
                    </a:lnTo>
                    <a:lnTo>
                      <a:pt x="0" y="1519"/>
                    </a:lnTo>
                    <a:lnTo>
                      <a:pt x="0" y="1518"/>
                    </a:lnTo>
                    <a:lnTo>
                      <a:pt x="0" y="1516"/>
                    </a:lnTo>
                    <a:lnTo>
                      <a:pt x="0" y="1515"/>
                    </a:lnTo>
                    <a:lnTo>
                      <a:pt x="0" y="1512"/>
                    </a:lnTo>
                    <a:lnTo>
                      <a:pt x="0" y="1507"/>
                    </a:lnTo>
                    <a:lnTo>
                      <a:pt x="0" y="1504"/>
                    </a:lnTo>
                    <a:lnTo>
                      <a:pt x="0" y="1502"/>
                    </a:lnTo>
                    <a:lnTo>
                      <a:pt x="0" y="1501"/>
                    </a:lnTo>
                    <a:lnTo>
                      <a:pt x="0" y="1499"/>
                    </a:lnTo>
                    <a:lnTo>
                      <a:pt x="0" y="1502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" name="Freeform 7"/>
              <p:cNvSpPr>
                <a:spLocks noEditPoints="1"/>
              </p:cNvSpPr>
              <p:nvPr userDrawn="1"/>
            </p:nvSpPr>
            <p:spPr bwMode="auto">
              <a:xfrm>
                <a:off x="1098298" y="-14566"/>
                <a:ext cx="704220" cy="1198509"/>
              </a:xfrm>
              <a:custGeom>
                <a:avLst/>
                <a:gdLst>
                  <a:gd name="T0" fmla="*/ 381 w 1929"/>
                  <a:gd name="T1" fmla="*/ 1573 h 3269"/>
                  <a:gd name="T2" fmla="*/ 381 w 1929"/>
                  <a:gd name="T3" fmla="*/ 1573 h 3269"/>
                  <a:gd name="T4" fmla="*/ 381 w 1929"/>
                  <a:gd name="T5" fmla="*/ 1573 h 3269"/>
                  <a:gd name="T6" fmla="*/ 375 w 1929"/>
                  <a:gd name="T7" fmla="*/ 1608 h 3269"/>
                  <a:gd name="T8" fmla="*/ 348 w 1929"/>
                  <a:gd name="T9" fmla="*/ 1664 h 3269"/>
                  <a:gd name="T10" fmla="*/ 299 w 1929"/>
                  <a:gd name="T11" fmla="*/ 1700 h 3269"/>
                  <a:gd name="T12" fmla="*/ 237 w 1929"/>
                  <a:gd name="T13" fmla="*/ 1716 h 3269"/>
                  <a:gd name="T14" fmla="*/ 13 w 1929"/>
                  <a:gd name="T15" fmla="*/ 1717 h 3269"/>
                  <a:gd name="T16" fmla="*/ 5 w 1929"/>
                  <a:gd name="T17" fmla="*/ 1722 h 3269"/>
                  <a:gd name="T18" fmla="*/ 0 w 1929"/>
                  <a:gd name="T19" fmla="*/ 1729 h 3269"/>
                  <a:gd name="T20" fmla="*/ 31 w 1929"/>
                  <a:gd name="T21" fmla="*/ 3264 h 3269"/>
                  <a:gd name="T22" fmla="*/ 605 w 1929"/>
                  <a:gd name="T23" fmla="*/ 3212 h 3269"/>
                  <a:gd name="T24" fmla="*/ 1286 w 1929"/>
                  <a:gd name="T25" fmla="*/ 2865 h 3269"/>
                  <a:gd name="T26" fmla="*/ 1756 w 1929"/>
                  <a:gd name="T27" fmla="*/ 2268 h 3269"/>
                  <a:gd name="T28" fmla="*/ 1929 w 1929"/>
                  <a:gd name="T29" fmla="*/ 1502 h 3269"/>
                  <a:gd name="T30" fmla="*/ 1855 w 1929"/>
                  <a:gd name="T31" fmla="*/ 989 h 3269"/>
                  <a:gd name="T32" fmla="*/ 1641 w 1929"/>
                  <a:gd name="T33" fmla="*/ 536 h 3269"/>
                  <a:gd name="T34" fmla="*/ 1314 w 1929"/>
                  <a:gd name="T35" fmla="*/ 163 h 3269"/>
                  <a:gd name="T36" fmla="*/ 1381 w 1929"/>
                  <a:gd name="T37" fmla="*/ 2025 h 3269"/>
                  <a:gd name="T38" fmla="*/ 1477 w 1929"/>
                  <a:gd name="T39" fmla="*/ 2046 h 3269"/>
                  <a:gd name="T40" fmla="*/ 1551 w 1929"/>
                  <a:gd name="T41" fmla="*/ 2105 h 3269"/>
                  <a:gd name="T42" fmla="*/ 1594 w 1929"/>
                  <a:gd name="T43" fmla="*/ 2191 h 3269"/>
                  <a:gd name="T44" fmla="*/ 1597 w 1929"/>
                  <a:gd name="T45" fmla="*/ 2290 h 3269"/>
                  <a:gd name="T46" fmla="*/ 1558 w 1929"/>
                  <a:gd name="T47" fmla="*/ 2378 h 3269"/>
                  <a:gd name="T48" fmla="*/ 1486 w 1929"/>
                  <a:gd name="T49" fmla="*/ 2439 h 3269"/>
                  <a:gd name="T50" fmla="*/ 1391 w 1929"/>
                  <a:gd name="T51" fmla="*/ 2465 h 3269"/>
                  <a:gd name="T52" fmla="*/ 1294 w 1929"/>
                  <a:gd name="T53" fmla="*/ 2448 h 3269"/>
                  <a:gd name="T54" fmla="*/ 1218 w 1929"/>
                  <a:gd name="T55" fmla="*/ 2393 h 3269"/>
                  <a:gd name="T56" fmla="*/ 1171 w 1929"/>
                  <a:gd name="T57" fmla="*/ 2311 h 3269"/>
                  <a:gd name="T58" fmla="*/ 1163 w 1929"/>
                  <a:gd name="T59" fmla="*/ 2212 h 3269"/>
                  <a:gd name="T60" fmla="*/ 1198 w 1929"/>
                  <a:gd name="T61" fmla="*/ 2122 h 3269"/>
                  <a:gd name="T62" fmla="*/ 1267 w 1929"/>
                  <a:gd name="T63" fmla="*/ 2057 h 3269"/>
                  <a:gd name="T64" fmla="*/ 1358 w 1929"/>
                  <a:gd name="T65" fmla="*/ 2026 h 3269"/>
                  <a:gd name="T66" fmla="*/ 928 w 1929"/>
                  <a:gd name="T67" fmla="*/ 2034 h 3269"/>
                  <a:gd name="T68" fmla="*/ 1012 w 1929"/>
                  <a:gd name="T69" fmla="*/ 2083 h 3269"/>
                  <a:gd name="T70" fmla="*/ 1067 w 1929"/>
                  <a:gd name="T71" fmla="*/ 2159 h 3269"/>
                  <a:gd name="T72" fmla="*/ 1084 w 1929"/>
                  <a:gd name="T73" fmla="*/ 2256 h 3269"/>
                  <a:gd name="T74" fmla="*/ 1058 w 1929"/>
                  <a:gd name="T75" fmla="*/ 2351 h 3269"/>
                  <a:gd name="T76" fmla="*/ 995 w 1929"/>
                  <a:gd name="T77" fmla="*/ 2422 h 3269"/>
                  <a:gd name="T78" fmla="*/ 907 w 1929"/>
                  <a:gd name="T79" fmla="*/ 2462 h 3269"/>
                  <a:gd name="T80" fmla="*/ 808 w 1929"/>
                  <a:gd name="T81" fmla="*/ 2459 h 3269"/>
                  <a:gd name="T82" fmla="*/ 723 w 1929"/>
                  <a:gd name="T83" fmla="*/ 2416 h 3269"/>
                  <a:gd name="T84" fmla="*/ 665 w 1929"/>
                  <a:gd name="T85" fmla="*/ 2341 h 3269"/>
                  <a:gd name="T86" fmla="*/ 642 w 1929"/>
                  <a:gd name="T87" fmla="*/ 2246 h 3269"/>
                  <a:gd name="T88" fmla="*/ 665 w 1929"/>
                  <a:gd name="T89" fmla="*/ 2150 h 3269"/>
                  <a:gd name="T90" fmla="*/ 723 w 1929"/>
                  <a:gd name="T91" fmla="*/ 2075 h 3269"/>
                  <a:gd name="T92" fmla="*/ 808 w 1929"/>
                  <a:gd name="T93" fmla="*/ 2032 h 3269"/>
                  <a:gd name="T94" fmla="*/ 311 w 1929"/>
                  <a:gd name="T95" fmla="*/ 2463 h 3269"/>
                  <a:gd name="T96" fmla="*/ 221 w 1929"/>
                  <a:gd name="T97" fmla="*/ 2428 h 3269"/>
                  <a:gd name="T98" fmla="*/ 156 w 1929"/>
                  <a:gd name="T99" fmla="*/ 2360 h 3269"/>
                  <a:gd name="T100" fmla="*/ 125 w 1929"/>
                  <a:gd name="T101" fmla="*/ 2268 h 3269"/>
                  <a:gd name="T102" fmla="*/ 138 w 1929"/>
                  <a:gd name="T103" fmla="*/ 2169 h 3269"/>
                  <a:gd name="T104" fmla="*/ 189 w 1929"/>
                  <a:gd name="T105" fmla="*/ 2089 h 3269"/>
                  <a:gd name="T106" fmla="*/ 269 w 1929"/>
                  <a:gd name="T107" fmla="*/ 2038 h 3269"/>
                  <a:gd name="T108" fmla="*/ 368 w 1929"/>
                  <a:gd name="T109" fmla="*/ 2026 h 3269"/>
                  <a:gd name="T110" fmla="*/ 461 w 1929"/>
                  <a:gd name="T111" fmla="*/ 2057 h 3269"/>
                  <a:gd name="T112" fmla="*/ 529 w 1929"/>
                  <a:gd name="T113" fmla="*/ 2122 h 3269"/>
                  <a:gd name="T114" fmla="*/ 564 w 1929"/>
                  <a:gd name="T115" fmla="*/ 2212 h 3269"/>
                  <a:gd name="T116" fmla="*/ 557 w 1929"/>
                  <a:gd name="T117" fmla="*/ 2311 h 3269"/>
                  <a:gd name="T118" fmla="*/ 509 w 1929"/>
                  <a:gd name="T119" fmla="*/ 2393 h 3269"/>
                  <a:gd name="T120" fmla="*/ 432 w 1929"/>
                  <a:gd name="T121" fmla="*/ 2448 h 3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29" h="3269">
                    <a:moveTo>
                      <a:pt x="381" y="1573"/>
                    </a:move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1" y="1573"/>
                    </a:lnTo>
                    <a:lnTo>
                      <a:pt x="380" y="1580"/>
                    </a:lnTo>
                    <a:lnTo>
                      <a:pt x="380" y="1586"/>
                    </a:lnTo>
                    <a:lnTo>
                      <a:pt x="378" y="1594"/>
                    </a:lnTo>
                    <a:lnTo>
                      <a:pt x="378" y="1601"/>
                    </a:lnTo>
                    <a:lnTo>
                      <a:pt x="375" y="1608"/>
                    </a:lnTo>
                    <a:lnTo>
                      <a:pt x="374" y="1615"/>
                    </a:lnTo>
                    <a:lnTo>
                      <a:pt x="372" y="1621"/>
                    </a:lnTo>
                    <a:lnTo>
                      <a:pt x="369" y="1627"/>
                    </a:lnTo>
                    <a:lnTo>
                      <a:pt x="366" y="1635"/>
                    </a:lnTo>
                    <a:lnTo>
                      <a:pt x="363" y="1641"/>
                    </a:lnTo>
                    <a:lnTo>
                      <a:pt x="360" y="1647"/>
                    </a:lnTo>
                    <a:lnTo>
                      <a:pt x="355" y="1652"/>
                    </a:lnTo>
                    <a:lnTo>
                      <a:pt x="351" y="1658"/>
                    </a:lnTo>
                    <a:lnTo>
                      <a:pt x="348" y="1664"/>
                    </a:lnTo>
                    <a:lnTo>
                      <a:pt x="343" y="1668"/>
                    </a:lnTo>
                    <a:lnTo>
                      <a:pt x="339" y="1673"/>
                    </a:lnTo>
                    <a:lnTo>
                      <a:pt x="333" y="1678"/>
                    </a:lnTo>
                    <a:lnTo>
                      <a:pt x="328" y="1682"/>
                    </a:lnTo>
                    <a:lnTo>
                      <a:pt x="322" y="1687"/>
                    </a:lnTo>
                    <a:lnTo>
                      <a:pt x="317" y="1691"/>
                    </a:lnTo>
                    <a:lnTo>
                      <a:pt x="311" y="1694"/>
                    </a:lnTo>
                    <a:lnTo>
                      <a:pt x="305" y="1697"/>
                    </a:lnTo>
                    <a:lnTo>
                      <a:pt x="299" y="1700"/>
                    </a:lnTo>
                    <a:lnTo>
                      <a:pt x="293" y="1703"/>
                    </a:lnTo>
                    <a:lnTo>
                      <a:pt x="285" y="1707"/>
                    </a:lnTo>
                    <a:lnTo>
                      <a:pt x="279" y="1708"/>
                    </a:lnTo>
                    <a:lnTo>
                      <a:pt x="273" y="1711"/>
                    </a:lnTo>
                    <a:lnTo>
                      <a:pt x="266" y="1713"/>
                    </a:lnTo>
                    <a:lnTo>
                      <a:pt x="258" y="1713"/>
                    </a:lnTo>
                    <a:lnTo>
                      <a:pt x="252" y="1714"/>
                    </a:lnTo>
                    <a:lnTo>
                      <a:pt x="244" y="1714"/>
                    </a:lnTo>
                    <a:lnTo>
                      <a:pt x="237" y="1716"/>
                    </a:lnTo>
                    <a:lnTo>
                      <a:pt x="20" y="1716"/>
                    </a:lnTo>
                    <a:lnTo>
                      <a:pt x="19" y="1716"/>
                    </a:lnTo>
                    <a:lnTo>
                      <a:pt x="17" y="1716"/>
                    </a:lnTo>
                    <a:lnTo>
                      <a:pt x="17" y="1716"/>
                    </a:lnTo>
                    <a:lnTo>
                      <a:pt x="16" y="1716"/>
                    </a:lnTo>
                    <a:lnTo>
                      <a:pt x="14" y="1716"/>
                    </a:lnTo>
                    <a:lnTo>
                      <a:pt x="14" y="1716"/>
                    </a:lnTo>
                    <a:lnTo>
                      <a:pt x="13" y="1716"/>
                    </a:lnTo>
                    <a:lnTo>
                      <a:pt x="13" y="1717"/>
                    </a:lnTo>
                    <a:lnTo>
                      <a:pt x="11" y="1717"/>
                    </a:lnTo>
                    <a:lnTo>
                      <a:pt x="10" y="1717"/>
                    </a:lnTo>
                    <a:lnTo>
                      <a:pt x="10" y="1717"/>
                    </a:lnTo>
                    <a:lnTo>
                      <a:pt x="8" y="1719"/>
                    </a:lnTo>
                    <a:lnTo>
                      <a:pt x="8" y="1719"/>
                    </a:lnTo>
                    <a:lnTo>
                      <a:pt x="6" y="1719"/>
                    </a:lnTo>
                    <a:lnTo>
                      <a:pt x="6" y="1720"/>
                    </a:lnTo>
                    <a:lnTo>
                      <a:pt x="5" y="1720"/>
                    </a:lnTo>
                    <a:lnTo>
                      <a:pt x="5" y="1722"/>
                    </a:lnTo>
                    <a:lnTo>
                      <a:pt x="5" y="1722"/>
                    </a:lnTo>
                    <a:lnTo>
                      <a:pt x="3" y="1723"/>
                    </a:lnTo>
                    <a:lnTo>
                      <a:pt x="3" y="1723"/>
                    </a:lnTo>
                    <a:lnTo>
                      <a:pt x="3" y="1725"/>
                    </a:lnTo>
                    <a:lnTo>
                      <a:pt x="2" y="1725"/>
                    </a:lnTo>
                    <a:lnTo>
                      <a:pt x="2" y="1726"/>
                    </a:lnTo>
                    <a:lnTo>
                      <a:pt x="2" y="1726"/>
                    </a:lnTo>
                    <a:lnTo>
                      <a:pt x="0" y="1728"/>
                    </a:lnTo>
                    <a:lnTo>
                      <a:pt x="0" y="1729"/>
                    </a:lnTo>
                    <a:lnTo>
                      <a:pt x="0" y="1729"/>
                    </a:lnTo>
                    <a:lnTo>
                      <a:pt x="0" y="1731"/>
                    </a:lnTo>
                    <a:lnTo>
                      <a:pt x="0" y="1731"/>
                    </a:lnTo>
                    <a:lnTo>
                      <a:pt x="0" y="1732"/>
                    </a:lnTo>
                    <a:lnTo>
                      <a:pt x="0" y="1734"/>
                    </a:lnTo>
                    <a:lnTo>
                      <a:pt x="0" y="1734"/>
                    </a:lnTo>
                    <a:lnTo>
                      <a:pt x="0" y="3261"/>
                    </a:lnTo>
                    <a:lnTo>
                      <a:pt x="5" y="3261"/>
                    </a:lnTo>
                    <a:lnTo>
                      <a:pt x="31" y="3264"/>
                    </a:lnTo>
                    <a:lnTo>
                      <a:pt x="80" y="3267"/>
                    </a:lnTo>
                    <a:lnTo>
                      <a:pt x="122" y="3269"/>
                    </a:lnTo>
                    <a:lnTo>
                      <a:pt x="157" y="3269"/>
                    </a:lnTo>
                    <a:lnTo>
                      <a:pt x="163" y="3269"/>
                    </a:lnTo>
                    <a:lnTo>
                      <a:pt x="255" y="3266"/>
                    </a:lnTo>
                    <a:lnTo>
                      <a:pt x="343" y="3260"/>
                    </a:lnTo>
                    <a:lnTo>
                      <a:pt x="432" y="3249"/>
                    </a:lnTo>
                    <a:lnTo>
                      <a:pt x="520" y="3232"/>
                    </a:lnTo>
                    <a:lnTo>
                      <a:pt x="605" y="3212"/>
                    </a:lnTo>
                    <a:lnTo>
                      <a:pt x="689" y="3190"/>
                    </a:lnTo>
                    <a:lnTo>
                      <a:pt x="771" y="3162"/>
                    </a:lnTo>
                    <a:lnTo>
                      <a:pt x="851" y="3130"/>
                    </a:lnTo>
                    <a:lnTo>
                      <a:pt x="930" y="3095"/>
                    </a:lnTo>
                    <a:lnTo>
                      <a:pt x="1006" y="3056"/>
                    </a:lnTo>
                    <a:lnTo>
                      <a:pt x="1079" y="3013"/>
                    </a:lnTo>
                    <a:lnTo>
                      <a:pt x="1151" y="2967"/>
                    </a:lnTo>
                    <a:lnTo>
                      <a:pt x="1221" y="2917"/>
                    </a:lnTo>
                    <a:lnTo>
                      <a:pt x="1286" y="2865"/>
                    </a:lnTo>
                    <a:lnTo>
                      <a:pt x="1352" y="2810"/>
                    </a:lnTo>
                    <a:lnTo>
                      <a:pt x="1413" y="2751"/>
                    </a:lnTo>
                    <a:lnTo>
                      <a:pt x="1471" y="2690"/>
                    </a:lnTo>
                    <a:lnTo>
                      <a:pt x="1527" y="2626"/>
                    </a:lnTo>
                    <a:lnTo>
                      <a:pt x="1579" y="2559"/>
                    </a:lnTo>
                    <a:lnTo>
                      <a:pt x="1628" y="2491"/>
                    </a:lnTo>
                    <a:lnTo>
                      <a:pt x="1675" y="2418"/>
                    </a:lnTo>
                    <a:lnTo>
                      <a:pt x="1716" y="2345"/>
                    </a:lnTo>
                    <a:lnTo>
                      <a:pt x="1756" y="2268"/>
                    </a:lnTo>
                    <a:lnTo>
                      <a:pt x="1791" y="2191"/>
                    </a:lnTo>
                    <a:lnTo>
                      <a:pt x="1823" y="2110"/>
                    </a:lnTo>
                    <a:lnTo>
                      <a:pt x="1850" y="2028"/>
                    </a:lnTo>
                    <a:lnTo>
                      <a:pt x="1874" y="1944"/>
                    </a:lnTo>
                    <a:lnTo>
                      <a:pt x="1894" y="1859"/>
                    </a:lnTo>
                    <a:lnTo>
                      <a:pt x="1910" y="1772"/>
                    </a:lnTo>
                    <a:lnTo>
                      <a:pt x="1920" y="1684"/>
                    </a:lnTo>
                    <a:lnTo>
                      <a:pt x="1928" y="1594"/>
                    </a:lnTo>
                    <a:lnTo>
                      <a:pt x="1929" y="1502"/>
                    </a:lnTo>
                    <a:lnTo>
                      <a:pt x="1929" y="1443"/>
                    </a:lnTo>
                    <a:lnTo>
                      <a:pt x="1926" y="1385"/>
                    </a:lnTo>
                    <a:lnTo>
                      <a:pt x="1922" y="1326"/>
                    </a:lnTo>
                    <a:lnTo>
                      <a:pt x="1914" y="1268"/>
                    </a:lnTo>
                    <a:lnTo>
                      <a:pt x="1906" y="1212"/>
                    </a:lnTo>
                    <a:lnTo>
                      <a:pt x="1896" y="1155"/>
                    </a:lnTo>
                    <a:lnTo>
                      <a:pt x="1884" y="1099"/>
                    </a:lnTo>
                    <a:lnTo>
                      <a:pt x="1870" y="1044"/>
                    </a:lnTo>
                    <a:lnTo>
                      <a:pt x="1855" y="989"/>
                    </a:lnTo>
                    <a:lnTo>
                      <a:pt x="1836" y="936"/>
                    </a:lnTo>
                    <a:lnTo>
                      <a:pt x="1818" y="883"/>
                    </a:lnTo>
                    <a:lnTo>
                      <a:pt x="1797" y="829"/>
                    </a:lnTo>
                    <a:lnTo>
                      <a:pt x="1775" y="779"/>
                    </a:lnTo>
                    <a:lnTo>
                      <a:pt x="1751" y="727"/>
                    </a:lnTo>
                    <a:lnTo>
                      <a:pt x="1725" y="679"/>
                    </a:lnTo>
                    <a:lnTo>
                      <a:pt x="1699" y="630"/>
                    </a:lnTo>
                    <a:lnTo>
                      <a:pt x="1670" y="581"/>
                    </a:lnTo>
                    <a:lnTo>
                      <a:pt x="1641" y="536"/>
                    </a:lnTo>
                    <a:lnTo>
                      <a:pt x="1609" y="490"/>
                    </a:lnTo>
                    <a:lnTo>
                      <a:pt x="1577" y="444"/>
                    </a:lnTo>
                    <a:lnTo>
                      <a:pt x="1544" y="400"/>
                    </a:lnTo>
                    <a:lnTo>
                      <a:pt x="1509" y="357"/>
                    </a:lnTo>
                    <a:lnTo>
                      <a:pt x="1472" y="316"/>
                    </a:lnTo>
                    <a:lnTo>
                      <a:pt x="1434" y="277"/>
                    </a:lnTo>
                    <a:lnTo>
                      <a:pt x="1395" y="237"/>
                    </a:lnTo>
                    <a:lnTo>
                      <a:pt x="1355" y="199"/>
                    </a:lnTo>
                    <a:lnTo>
                      <a:pt x="1314" y="163"/>
                    </a:lnTo>
                    <a:lnTo>
                      <a:pt x="1271" y="128"/>
                    </a:lnTo>
                    <a:lnTo>
                      <a:pt x="1227" y="94"/>
                    </a:lnTo>
                    <a:lnTo>
                      <a:pt x="1183" y="61"/>
                    </a:lnTo>
                    <a:lnTo>
                      <a:pt x="1137" y="30"/>
                    </a:lnTo>
                    <a:lnTo>
                      <a:pt x="1090" y="0"/>
                    </a:lnTo>
                    <a:lnTo>
                      <a:pt x="381" y="0"/>
                    </a:lnTo>
                    <a:lnTo>
                      <a:pt x="381" y="1522"/>
                    </a:lnTo>
                    <a:lnTo>
                      <a:pt x="381" y="1573"/>
                    </a:lnTo>
                    <a:close/>
                    <a:moveTo>
                      <a:pt x="1381" y="2025"/>
                    </a:moveTo>
                    <a:lnTo>
                      <a:pt x="1391" y="2025"/>
                    </a:lnTo>
                    <a:lnTo>
                      <a:pt x="1404" y="2026"/>
                    </a:lnTo>
                    <a:lnTo>
                      <a:pt x="1414" y="2028"/>
                    </a:lnTo>
                    <a:lnTo>
                      <a:pt x="1425" y="2029"/>
                    </a:lnTo>
                    <a:lnTo>
                      <a:pt x="1436" y="2032"/>
                    </a:lnTo>
                    <a:lnTo>
                      <a:pt x="1446" y="2034"/>
                    </a:lnTo>
                    <a:lnTo>
                      <a:pt x="1457" y="2038"/>
                    </a:lnTo>
                    <a:lnTo>
                      <a:pt x="1466" y="2041"/>
                    </a:lnTo>
                    <a:lnTo>
                      <a:pt x="1477" y="2046"/>
                    </a:lnTo>
                    <a:lnTo>
                      <a:pt x="1486" y="2051"/>
                    </a:lnTo>
                    <a:lnTo>
                      <a:pt x="1495" y="2057"/>
                    </a:lnTo>
                    <a:lnTo>
                      <a:pt x="1504" y="2063"/>
                    </a:lnTo>
                    <a:lnTo>
                      <a:pt x="1513" y="2069"/>
                    </a:lnTo>
                    <a:lnTo>
                      <a:pt x="1521" y="2075"/>
                    </a:lnTo>
                    <a:lnTo>
                      <a:pt x="1529" y="2083"/>
                    </a:lnTo>
                    <a:lnTo>
                      <a:pt x="1536" y="2089"/>
                    </a:lnTo>
                    <a:lnTo>
                      <a:pt x="1544" y="2096"/>
                    </a:lnTo>
                    <a:lnTo>
                      <a:pt x="1551" y="2105"/>
                    </a:lnTo>
                    <a:lnTo>
                      <a:pt x="1558" y="2113"/>
                    </a:lnTo>
                    <a:lnTo>
                      <a:pt x="1564" y="2122"/>
                    </a:lnTo>
                    <a:lnTo>
                      <a:pt x="1570" y="2131"/>
                    </a:lnTo>
                    <a:lnTo>
                      <a:pt x="1574" y="2140"/>
                    </a:lnTo>
                    <a:lnTo>
                      <a:pt x="1580" y="2150"/>
                    </a:lnTo>
                    <a:lnTo>
                      <a:pt x="1583" y="2159"/>
                    </a:lnTo>
                    <a:lnTo>
                      <a:pt x="1588" y="2169"/>
                    </a:lnTo>
                    <a:lnTo>
                      <a:pt x="1591" y="2180"/>
                    </a:lnTo>
                    <a:lnTo>
                      <a:pt x="1594" y="2191"/>
                    </a:lnTo>
                    <a:lnTo>
                      <a:pt x="1597" y="2201"/>
                    </a:lnTo>
                    <a:lnTo>
                      <a:pt x="1599" y="2212"/>
                    </a:lnTo>
                    <a:lnTo>
                      <a:pt x="1600" y="2223"/>
                    </a:lnTo>
                    <a:lnTo>
                      <a:pt x="1602" y="2233"/>
                    </a:lnTo>
                    <a:lnTo>
                      <a:pt x="1602" y="2246"/>
                    </a:lnTo>
                    <a:lnTo>
                      <a:pt x="1602" y="2256"/>
                    </a:lnTo>
                    <a:lnTo>
                      <a:pt x="1600" y="2268"/>
                    </a:lnTo>
                    <a:lnTo>
                      <a:pt x="1599" y="2279"/>
                    </a:lnTo>
                    <a:lnTo>
                      <a:pt x="1597" y="2290"/>
                    </a:lnTo>
                    <a:lnTo>
                      <a:pt x="1594" y="2300"/>
                    </a:lnTo>
                    <a:lnTo>
                      <a:pt x="1591" y="2311"/>
                    </a:lnTo>
                    <a:lnTo>
                      <a:pt x="1588" y="2322"/>
                    </a:lnTo>
                    <a:lnTo>
                      <a:pt x="1583" y="2331"/>
                    </a:lnTo>
                    <a:lnTo>
                      <a:pt x="1580" y="2341"/>
                    </a:lnTo>
                    <a:lnTo>
                      <a:pt x="1574" y="2351"/>
                    </a:lnTo>
                    <a:lnTo>
                      <a:pt x="1570" y="2360"/>
                    </a:lnTo>
                    <a:lnTo>
                      <a:pt x="1564" y="2369"/>
                    </a:lnTo>
                    <a:lnTo>
                      <a:pt x="1558" y="2378"/>
                    </a:lnTo>
                    <a:lnTo>
                      <a:pt x="1551" y="2386"/>
                    </a:lnTo>
                    <a:lnTo>
                      <a:pt x="1544" y="2393"/>
                    </a:lnTo>
                    <a:lnTo>
                      <a:pt x="1536" y="2401"/>
                    </a:lnTo>
                    <a:lnTo>
                      <a:pt x="1529" y="2408"/>
                    </a:lnTo>
                    <a:lnTo>
                      <a:pt x="1521" y="2416"/>
                    </a:lnTo>
                    <a:lnTo>
                      <a:pt x="1513" y="2422"/>
                    </a:lnTo>
                    <a:lnTo>
                      <a:pt x="1504" y="2428"/>
                    </a:lnTo>
                    <a:lnTo>
                      <a:pt x="1495" y="2434"/>
                    </a:lnTo>
                    <a:lnTo>
                      <a:pt x="1486" y="2439"/>
                    </a:lnTo>
                    <a:lnTo>
                      <a:pt x="1477" y="2443"/>
                    </a:lnTo>
                    <a:lnTo>
                      <a:pt x="1466" y="2448"/>
                    </a:lnTo>
                    <a:lnTo>
                      <a:pt x="1457" y="2453"/>
                    </a:lnTo>
                    <a:lnTo>
                      <a:pt x="1446" y="2456"/>
                    </a:lnTo>
                    <a:lnTo>
                      <a:pt x="1436" y="2459"/>
                    </a:lnTo>
                    <a:lnTo>
                      <a:pt x="1425" y="2462"/>
                    </a:lnTo>
                    <a:lnTo>
                      <a:pt x="1414" y="2463"/>
                    </a:lnTo>
                    <a:lnTo>
                      <a:pt x="1404" y="2465"/>
                    </a:lnTo>
                    <a:lnTo>
                      <a:pt x="1391" y="2465"/>
                    </a:lnTo>
                    <a:lnTo>
                      <a:pt x="1381" y="2466"/>
                    </a:lnTo>
                    <a:lnTo>
                      <a:pt x="1369" y="2465"/>
                    </a:lnTo>
                    <a:lnTo>
                      <a:pt x="1358" y="2465"/>
                    </a:lnTo>
                    <a:lnTo>
                      <a:pt x="1347" y="2463"/>
                    </a:lnTo>
                    <a:lnTo>
                      <a:pt x="1337" y="2462"/>
                    </a:lnTo>
                    <a:lnTo>
                      <a:pt x="1326" y="2459"/>
                    </a:lnTo>
                    <a:lnTo>
                      <a:pt x="1315" y="2456"/>
                    </a:lnTo>
                    <a:lnTo>
                      <a:pt x="1305" y="2453"/>
                    </a:lnTo>
                    <a:lnTo>
                      <a:pt x="1294" y="2448"/>
                    </a:lnTo>
                    <a:lnTo>
                      <a:pt x="1285" y="2443"/>
                    </a:lnTo>
                    <a:lnTo>
                      <a:pt x="1276" y="2439"/>
                    </a:lnTo>
                    <a:lnTo>
                      <a:pt x="1267" y="2434"/>
                    </a:lnTo>
                    <a:lnTo>
                      <a:pt x="1257" y="2428"/>
                    </a:lnTo>
                    <a:lnTo>
                      <a:pt x="1248" y="2422"/>
                    </a:lnTo>
                    <a:lnTo>
                      <a:pt x="1241" y="2416"/>
                    </a:lnTo>
                    <a:lnTo>
                      <a:pt x="1231" y="2408"/>
                    </a:lnTo>
                    <a:lnTo>
                      <a:pt x="1224" y="2401"/>
                    </a:lnTo>
                    <a:lnTo>
                      <a:pt x="1218" y="2393"/>
                    </a:lnTo>
                    <a:lnTo>
                      <a:pt x="1210" y="2386"/>
                    </a:lnTo>
                    <a:lnTo>
                      <a:pt x="1204" y="2378"/>
                    </a:lnTo>
                    <a:lnTo>
                      <a:pt x="1198" y="2369"/>
                    </a:lnTo>
                    <a:lnTo>
                      <a:pt x="1192" y="2360"/>
                    </a:lnTo>
                    <a:lnTo>
                      <a:pt x="1187" y="2351"/>
                    </a:lnTo>
                    <a:lnTo>
                      <a:pt x="1181" y="2341"/>
                    </a:lnTo>
                    <a:lnTo>
                      <a:pt x="1177" y="2331"/>
                    </a:lnTo>
                    <a:lnTo>
                      <a:pt x="1174" y="2322"/>
                    </a:lnTo>
                    <a:lnTo>
                      <a:pt x="1171" y="2311"/>
                    </a:lnTo>
                    <a:lnTo>
                      <a:pt x="1168" y="2300"/>
                    </a:lnTo>
                    <a:lnTo>
                      <a:pt x="1164" y="2290"/>
                    </a:lnTo>
                    <a:lnTo>
                      <a:pt x="1163" y="2279"/>
                    </a:lnTo>
                    <a:lnTo>
                      <a:pt x="1161" y="2268"/>
                    </a:lnTo>
                    <a:lnTo>
                      <a:pt x="1160" y="2256"/>
                    </a:lnTo>
                    <a:lnTo>
                      <a:pt x="1160" y="2246"/>
                    </a:lnTo>
                    <a:lnTo>
                      <a:pt x="1160" y="2233"/>
                    </a:lnTo>
                    <a:lnTo>
                      <a:pt x="1161" y="2223"/>
                    </a:lnTo>
                    <a:lnTo>
                      <a:pt x="1163" y="2212"/>
                    </a:lnTo>
                    <a:lnTo>
                      <a:pt x="1164" y="2201"/>
                    </a:lnTo>
                    <a:lnTo>
                      <a:pt x="1168" y="2191"/>
                    </a:lnTo>
                    <a:lnTo>
                      <a:pt x="1171" y="2180"/>
                    </a:lnTo>
                    <a:lnTo>
                      <a:pt x="1174" y="2169"/>
                    </a:lnTo>
                    <a:lnTo>
                      <a:pt x="1177" y="2159"/>
                    </a:lnTo>
                    <a:lnTo>
                      <a:pt x="1181" y="2150"/>
                    </a:lnTo>
                    <a:lnTo>
                      <a:pt x="1187" y="2140"/>
                    </a:lnTo>
                    <a:lnTo>
                      <a:pt x="1192" y="2131"/>
                    </a:lnTo>
                    <a:lnTo>
                      <a:pt x="1198" y="2122"/>
                    </a:lnTo>
                    <a:lnTo>
                      <a:pt x="1204" y="2113"/>
                    </a:lnTo>
                    <a:lnTo>
                      <a:pt x="1210" y="2105"/>
                    </a:lnTo>
                    <a:lnTo>
                      <a:pt x="1218" y="2096"/>
                    </a:lnTo>
                    <a:lnTo>
                      <a:pt x="1224" y="2089"/>
                    </a:lnTo>
                    <a:lnTo>
                      <a:pt x="1231" y="2083"/>
                    </a:lnTo>
                    <a:lnTo>
                      <a:pt x="1241" y="2075"/>
                    </a:lnTo>
                    <a:lnTo>
                      <a:pt x="1248" y="2069"/>
                    </a:lnTo>
                    <a:lnTo>
                      <a:pt x="1257" y="2063"/>
                    </a:lnTo>
                    <a:lnTo>
                      <a:pt x="1267" y="2057"/>
                    </a:lnTo>
                    <a:lnTo>
                      <a:pt x="1276" y="2051"/>
                    </a:lnTo>
                    <a:lnTo>
                      <a:pt x="1285" y="2046"/>
                    </a:lnTo>
                    <a:lnTo>
                      <a:pt x="1294" y="2041"/>
                    </a:lnTo>
                    <a:lnTo>
                      <a:pt x="1305" y="2038"/>
                    </a:lnTo>
                    <a:lnTo>
                      <a:pt x="1315" y="2034"/>
                    </a:lnTo>
                    <a:lnTo>
                      <a:pt x="1326" y="2032"/>
                    </a:lnTo>
                    <a:lnTo>
                      <a:pt x="1337" y="2029"/>
                    </a:lnTo>
                    <a:lnTo>
                      <a:pt x="1347" y="2028"/>
                    </a:lnTo>
                    <a:lnTo>
                      <a:pt x="1358" y="2026"/>
                    </a:lnTo>
                    <a:lnTo>
                      <a:pt x="1369" y="2025"/>
                    </a:lnTo>
                    <a:lnTo>
                      <a:pt x="1381" y="2025"/>
                    </a:lnTo>
                    <a:close/>
                    <a:moveTo>
                      <a:pt x="863" y="2025"/>
                    </a:moveTo>
                    <a:lnTo>
                      <a:pt x="875" y="2025"/>
                    </a:lnTo>
                    <a:lnTo>
                      <a:pt x="886" y="2026"/>
                    </a:lnTo>
                    <a:lnTo>
                      <a:pt x="896" y="2028"/>
                    </a:lnTo>
                    <a:lnTo>
                      <a:pt x="907" y="2029"/>
                    </a:lnTo>
                    <a:lnTo>
                      <a:pt x="918" y="2032"/>
                    </a:lnTo>
                    <a:lnTo>
                      <a:pt x="928" y="2034"/>
                    </a:lnTo>
                    <a:lnTo>
                      <a:pt x="939" y="2038"/>
                    </a:lnTo>
                    <a:lnTo>
                      <a:pt x="950" y="2041"/>
                    </a:lnTo>
                    <a:lnTo>
                      <a:pt x="959" y="2046"/>
                    </a:lnTo>
                    <a:lnTo>
                      <a:pt x="968" y="2051"/>
                    </a:lnTo>
                    <a:lnTo>
                      <a:pt x="977" y="2057"/>
                    </a:lnTo>
                    <a:lnTo>
                      <a:pt x="986" y="2063"/>
                    </a:lnTo>
                    <a:lnTo>
                      <a:pt x="995" y="2069"/>
                    </a:lnTo>
                    <a:lnTo>
                      <a:pt x="1003" y="2075"/>
                    </a:lnTo>
                    <a:lnTo>
                      <a:pt x="1012" y="2083"/>
                    </a:lnTo>
                    <a:lnTo>
                      <a:pt x="1020" y="2089"/>
                    </a:lnTo>
                    <a:lnTo>
                      <a:pt x="1026" y="2096"/>
                    </a:lnTo>
                    <a:lnTo>
                      <a:pt x="1033" y="2105"/>
                    </a:lnTo>
                    <a:lnTo>
                      <a:pt x="1040" y="2113"/>
                    </a:lnTo>
                    <a:lnTo>
                      <a:pt x="1046" y="2122"/>
                    </a:lnTo>
                    <a:lnTo>
                      <a:pt x="1052" y="2131"/>
                    </a:lnTo>
                    <a:lnTo>
                      <a:pt x="1058" y="2140"/>
                    </a:lnTo>
                    <a:lnTo>
                      <a:pt x="1062" y="2150"/>
                    </a:lnTo>
                    <a:lnTo>
                      <a:pt x="1067" y="2159"/>
                    </a:lnTo>
                    <a:lnTo>
                      <a:pt x="1070" y="2169"/>
                    </a:lnTo>
                    <a:lnTo>
                      <a:pt x="1075" y="2180"/>
                    </a:lnTo>
                    <a:lnTo>
                      <a:pt x="1076" y="2191"/>
                    </a:lnTo>
                    <a:lnTo>
                      <a:pt x="1079" y="2201"/>
                    </a:lnTo>
                    <a:lnTo>
                      <a:pt x="1081" y="2212"/>
                    </a:lnTo>
                    <a:lnTo>
                      <a:pt x="1082" y="2223"/>
                    </a:lnTo>
                    <a:lnTo>
                      <a:pt x="1084" y="2233"/>
                    </a:lnTo>
                    <a:lnTo>
                      <a:pt x="1084" y="2246"/>
                    </a:lnTo>
                    <a:lnTo>
                      <a:pt x="1084" y="2256"/>
                    </a:lnTo>
                    <a:lnTo>
                      <a:pt x="1082" y="2268"/>
                    </a:lnTo>
                    <a:lnTo>
                      <a:pt x="1081" y="2279"/>
                    </a:lnTo>
                    <a:lnTo>
                      <a:pt x="1079" y="2290"/>
                    </a:lnTo>
                    <a:lnTo>
                      <a:pt x="1076" y="2300"/>
                    </a:lnTo>
                    <a:lnTo>
                      <a:pt x="1075" y="2311"/>
                    </a:lnTo>
                    <a:lnTo>
                      <a:pt x="1070" y="2322"/>
                    </a:lnTo>
                    <a:lnTo>
                      <a:pt x="1067" y="2331"/>
                    </a:lnTo>
                    <a:lnTo>
                      <a:pt x="1062" y="2341"/>
                    </a:lnTo>
                    <a:lnTo>
                      <a:pt x="1058" y="2351"/>
                    </a:lnTo>
                    <a:lnTo>
                      <a:pt x="1052" y="2360"/>
                    </a:lnTo>
                    <a:lnTo>
                      <a:pt x="1046" y="2369"/>
                    </a:lnTo>
                    <a:lnTo>
                      <a:pt x="1040" y="2378"/>
                    </a:lnTo>
                    <a:lnTo>
                      <a:pt x="1033" y="2386"/>
                    </a:lnTo>
                    <a:lnTo>
                      <a:pt x="1026" y="2393"/>
                    </a:lnTo>
                    <a:lnTo>
                      <a:pt x="1020" y="2401"/>
                    </a:lnTo>
                    <a:lnTo>
                      <a:pt x="1012" y="2408"/>
                    </a:lnTo>
                    <a:lnTo>
                      <a:pt x="1003" y="2416"/>
                    </a:lnTo>
                    <a:lnTo>
                      <a:pt x="995" y="2422"/>
                    </a:lnTo>
                    <a:lnTo>
                      <a:pt x="986" y="2428"/>
                    </a:lnTo>
                    <a:lnTo>
                      <a:pt x="977" y="2434"/>
                    </a:lnTo>
                    <a:lnTo>
                      <a:pt x="968" y="2439"/>
                    </a:lnTo>
                    <a:lnTo>
                      <a:pt x="959" y="2443"/>
                    </a:lnTo>
                    <a:lnTo>
                      <a:pt x="950" y="2448"/>
                    </a:lnTo>
                    <a:lnTo>
                      <a:pt x="939" y="2453"/>
                    </a:lnTo>
                    <a:lnTo>
                      <a:pt x="928" y="2456"/>
                    </a:lnTo>
                    <a:lnTo>
                      <a:pt x="918" y="2459"/>
                    </a:lnTo>
                    <a:lnTo>
                      <a:pt x="907" y="2462"/>
                    </a:lnTo>
                    <a:lnTo>
                      <a:pt x="896" y="2463"/>
                    </a:lnTo>
                    <a:lnTo>
                      <a:pt x="886" y="2465"/>
                    </a:lnTo>
                    <a:lnTo>
                      <a:pt x="875" y="2465"/>
                    </a:lnTo>
                    <a:lnTo>
                      <a:pt x="863" y="2466"/>
                    </a:lnTo>
                    <a:lnTo>
                      <a:pt x="852" y="2465"/>
                    </a:lnTo>
                    <a:lnTo>
                      <a:pt x="840" y="2465"/>
                    </a:lnTo>
                    <a:lnTo>
                      <a:pt x="829" y="2463"/>
                    </a:lnTo>
                    <a:lnTo>
                      <a:pt x="819" y="2462"/>
                    </a:lnTo>
                    <a:lnTo>
                      <a:pt x="808" y="2459"/>
                    </a:lnTo>
                    <a:lnTo>
                      <a:pt x="797" y="2456"/>
                    </a:lnTo>
                    <a:lnTo>
                      <a:pt x="787" y="2453"/>
                    </a:lnTo>
                    <a:lnTo>
                      <a:pt x="777" y="2448"/>
                    </a:lnTo>
                    <a:lnTo>
                      <a:pt x="767" y="2443"/>
                    </a:lnTo>
                    <a:lnTo>
                      <a:pt x="758" y="2439"/>
                    </a:lnTo>
                    <a:lnTo>
                      <a:pt x="749" y="2434"/>
                    </a:lnTo>
                    <a:lnTo>
                      <a:pt x="739" y="2428"/>
                    </a:lnTo>
                    <a:lnTo>
                      <a:pt x="732" y="2422"/>
                    </a:lnTo>
                    <a:lnTo>
                      <a:pt x="723" y="2416"/>
                    </a:lnTo>
                    <a:lnTo>
                      <a:pt x="715" y="2408"/>
                    </a:lnTo>
                    <a:lnTo>
                      <a:pt x="707" y="2401"/>
                    </a:lnTo>
                    <a:lnTo>
                      <a:pt x="700" y="2393"/>
                    </a:lnTo>
                    <a:lnTo>
                      <a:pt x="692" y="2386"/>
                    </a:lnTo>
                    <a:lnTo>
                      <a:pt x="686" y="2378"/>
                    </a:lnTo>
                    <a:lnTo>
                      <a:pt x="680" y="2369"/>
                    </a:lnTo>
                    <a:lnTo>
                      <a:pt x="674" y="2360"/>
                    </a:lnTo>
                    <a:lnTo>
                      <a:pt x="669" y="2351"/>
                    </a:lnTo>
                    <a:lnTo>
                      <a:pt x="665" y="2341"/>
                    </a:lnTo>
                    <a:lnTo>
                      <a:pt x="660" y="2331"/>
                    </a:lnTo>
                    <a:lnTo>
                      <a:pt x="656" y="2322"/>
                    </a:lnTo>
                    <a:lnTo>
                      <a:pt x="653" y="2311"/>
                    </a:lnTo>
                    <a:lnTo>
                      <a:pt x="649" y="2300"/>
                    </a:lnTo>
                    <a:lnTo>
                      <a:pt x="646" y="2290"/>
                    </a:lnTo>
                    <a:lnTo>
                      <a:pt x="645" y="2279"/>
                    </a:lnTo>
                    <a:lnTo>
                      <a:pt x="643" y="2268"/>
                    </a:lnTo>
                    <a:lnTo>
                      <a:pt x="642" y="2256"/>
                    </a:lnTo>
                    <a:lnTo>
                      <a:pt x="642" y="2246"/>
                    </a:lnTo>
                    <a:lnTo>
                      <a:pt x="642" y="2233"/>
                    </a:lnTo>
                    <a:lnTo>
                      <a:pt x="643" y="2223"/>
                    </a:lnTo>
                    <a:lnTo>
                      <a:pt x="645" y="2212"/>
                    </a:lnTo>
                    <a:lnTo>
                      <a:pt x="646" y="2201"/>
                    </a:lnTo>
                    <a:lnTo>
                      <a:pt x="649" y="2191"/>
                    </a:lnTo>
                    <a:lnTo>
                      <a:pt x="653" y="2180"/>
                    </a:lnTo>
                    <a:lnTo>
                      <a:pt x="656" y="2169"/>
                    </a:lnTo>
                    <a:lnTo>
                      <a:pt x="660" y="2159"/>
                    </a:lnTo>
                    <a:lnTo>
                      <a:pt x="665" y="2150"/>
                    </a:lnTo>
                    <a:lnTo>
                      <a:pt x="669" y="2140"/>
                    </a:lnTo>
                    <a:lnTo>
                      <a:pt x="674" y="2131"/>
                    </a:lnTo>
                    <a:lnTo>
                      <a:pt x="680" y="2122"/>
                    </a:lnTo>
                    <a:lnTo>
                      <a:pt x="686" y="2113"/>
                    </a:lnTo>
                    <a:lnTo>
                      <a:pt x="692" y="2105"/>
                    </a:lnTo>
                    <a:lnTo>
                      <a:pt x="700" y="2096"/>
                    </a:lnTo>
                    <a:lnTo>
                      <a:pt x="707" y="2089"/>
                    </a:lnTo>
                    <a:lnTo>
                      <a:pt x="715" y="2083"/>
                    </a:lnTo>
                    <a:lnTo>
                      <a:pt x="723" y="2075"/>
                    </a:lnTo>
                    <a:lnTo>
                      <a:pt x="732" y="2069"/>
                    </a:lnTo>
                    <a:lnTo>
                      <a:pt x="739" y="2063"/>
                    </a:lnTo>
                    <a:lnTo>
                      <a:pt x="749" y="2057"/>
                    </a:lnTo>
                    <a:lnTo>
                      <a:pt x="758" y="2051"/>
                    </a:lnTo>
                    <a:lnTo>
                      <a:pt x="767" y="2046"/>
                    </a:lnTo>
                    <a:lnTo>
                      <a:pt x="777" y="2041"/>
                    </a:lnTo>
                    <a:lnTo>
                      <a:pt x="787" y="2038"/>
                    </a:lnTo>
                    <a:lnTo>
                      <a:pt x="797" y="2034"/>
                    </a:lnTo>
                    <a:lnTo>
                      <a:pt x="808" y="2032"/>
                    </a:lnTo>
                    <a:lnTo>
                      <a:pt x="819" y="2029"/>
                    </a:lnTo>
                    <a:lnTo>
                      <a:pt x="829" y="2028"/>
                    </a:lnTo>
                    <a:lnTo>
                      <a:pt x="840" y="2026"/>
                    </a:lnTo>
                    <a:lnTo>
                      <a:pt x="852" y="2025"/>
                    </a:lnTo>
                    <a:lnTo>
                      <a:pt x="863" y="2025"/>
                    </a:lnTo>
                    <a:close/>
                    <a:moveTo>
                      <a:pt x="345" y="2466"/>
                    </a:moveTo>
                    <a:lnTo>
                      <a:pt x="334" y="2465"/>
                    </a:lnTo>
                    <a:lnTo>
                      <a:pt x="322" y="2465"/>
                    </a:lnTo>
                    <a:lnTo>
                      <a:pt x="311" y="2463"/>
                    </a:lnTo>
                    <a:lnTo>
                      <a:pt x="301" y="2462"/>
                    </a:lnTo>
                    <a:lnTo>
                      <a:pt x="290" y="2459"/>
                    </a:lnTo>
                    <a:lnTo>
                      <a:pt x="279" y="2456"/>
                    </a:lnTo>
                    <a:lnTo>
                      <a:pt x="269" y="2453"/>
                    </a:lnTo>
                    <a:lnTo>
                      <a:pt x="259" y="2448"/>
                    </a:lnTo>
                    <a:lnTo>
                      <a:pt x="250" y="2443"/>
                    </a:lnTo>
                    <a:lnTo>
                      <a:pt x="240" y="2439"/>
                    </a:lnTo>
                    <a:lnTo>
                      <a:pt x="230" y="2434"/>
                    </a:lnTo>
                    <a:lnTo>
                      <a:pt x="221" y="2428"/>
                    </a:lnTo>
                    <a:lnTo>
                      <a:pt x="214" y="2422"/>
                    </a:lnTo>
                    <a:lnTo>
                      <a:pt x="205" y="2416"/>
                    </a:lnTo>
                    <a:lnTo>
                      <a:pt x="197" y="2408"/>
                    </a:lnTo>
                    <a:lnTo>
                      <a:pt x="189" y="2401"/>
                    </a:lnTo>
                    <a:lnTo>
                      <a:pt x="182" y="2393"/>
                    </a:lnTo>
                    <a:lnTo>
                      <a:pt x="174" y="2386"/>
                    </a:lnTo>
                    <a:lnTo>
                      <a:pt x="168" y="2378"/>
                    </a:lnTo>
                    <a:lnTo>
                      <a:pt x="162" y="2369"/>
                    </a:lnTo>
                    <a:lnTo>
                      <a:pt x="156" y="2360"/>
                    </a:lnTo>
                    <a:lnTo>
                      <a:pt x="151" y="2351"/>
                    </a:lnTo>
                    <a:lnTo>
                      <a:pt x="147" y="2341"/>
                    </a:lnTo>
                    <a:lnTo>
                      <a:pt x="142" y="2331"/>
                    </a:lnTo>
                    <a:lnTo>
                      <a:pt x="138" y="2322"/>
                    </a:lnTo>
                    <a:lnTo>
                      <a:pt x="134" y="2311"/>
                    </a:lnTo>
                    <a:lnTo>
                      <a:pt x="131" y="2300"/>
                    </a:lnTo>
                    <a:lnTo>
                      <a:pt x="128" y="2290"/>
                    </a:lnTo>
                    <a:lnTo>
                      <a:pt x="127" y="2279"/>
                    </a:lnTo>
                    <a:lnTo>
                      <a:pt x="125" y="2268"/>
                    </a:lnTo>
                    <a:lnTo>
                      <a:pt x="125" y="2256"/>
                    </a:lnTo>
                    <a:lnTo>
                      <a:pt x="124" y="2246"/>
                    </a:lnTo>
                    <a:lnTo>
                      <a:pt x="125" y="2233"/>
                    </a:lnTo>
                    <a:lnTo>
                      <a:pt x="125" y="2223"/>
                    </a:lnTo>
                    <a:lnTo>
                      <a:pt x="127" y="2212"/>
                    </a:lnTo>
                    <a:lnTo>
                      <a:pt x="128" y="2201"/>
                    </a:lnTo>
                    <a:lnTo>
                      <a:pt x="131" y="2191"/>
                    </a:lnTo>
                    <a:lnTo>
                      <a:pt x="134" y="2180"/>
                    </a:lnTo>
                    <a:lnTo>
                      <a:pt x="138" y="2169"/>
                    </a:lnTo>
                    <a:lnTo>
                      <a:pt x="142" y="2159"/>
                    </a:lnTo>
                    <a:lnTo>
                      <a:pt x="147" y="2150"/>
                    </a:lnTo>
                    <a:lnTo>
                      <a:pt x="151" y="2140"/>
                    </a:lnTo>
                    <a:lnTo>
                      <a:pt x="156" y="2131"/>
                    </a:lnTo>
                    <a:lnTo>
                      <a:pt x="162" y="2122"/>
                    </a:lnTo>
                    <a:lnTo>
                      <a:pt x="168" y="2113"/>
                    </a:lnTo>
                    <a:lnTo>
                      <a:pt x="174" y="2105"/>
                    </a:lnTo>
                    <a:lnTo>
                      <a:pt x="182" y="2096"/>
                    </a:lnTo>
                    <a:lnTo>
                      <a:pt x="189" y="2089"/>
                    </a:lnTo>
                    <a:lnTo>
                      <a:pt x="197" y="2083"/>
                    </a:lnTo>
                    <a:lnTo>
                      <a:pt x="205" y="2075"/>
                    </a:lnTo>
                    <a:lnTo>
                      <a:pt x="214" y="2069"/>
                    </a:lnTo>
                    <a:lnTo>
                      <a:pt x="221" y="2063"/>
                    </a:lnTo>
                    <a:lnTo>
                      <a:pt x="230" y="2057"/>
                    </a:lnTo>
                    <a:lnTo>
                      <a:pt x="240" y="2051"/>
                    </a:lnTo>
                    <a:lnTo>
                      <a:pt x="250" y="2046"/>
                    </a:lnTo>
                    <a:lnTo>
                      <a:pt x="259" y="2041"/>
                    </a:lnTo>
                    <a:lnTo>
                      <a:pt x="269" y="2038"/>
                    </a:lnTo>
                    <a:lnTo>
                      <a:pt x="279" y="2034"/>
                    </a:lnTo>
                    <a:lnTo>
                      <a:pt x="290" y="2032"/>
                    </a:lnTo>
                    <a:lnTo>
                      <a:pt x="301" y="2029"/>
                    </a:lnTo>
                    <a:lnTo>
                      <a:pt x="311" y="2028"/>
                    </a:lnTo>
                    <a:lnTo>
                      <a:pt x="322" y="2026"/>
                    </a:lnTo>
                    <a:lnTo>
                      <a:pt x="334" y="2025"/>
                    </a:lnTo>
                    <a:lnTo>
                      <a:pt x="345" y="2025"/>
                    </a:lnTo>
                    <a:lnTo>
                      <a:pt x="357" y="2025"/>
                    </a:lnTo>
                    <a:lnTo>
                      <a:pt x="368" y="2026"/>
                    </a:lnTo>
                    <a:lnTo>
                      <a:pt x="378" y="2028"/>
                    </a:lnTo>
                    <a:lnTo>
                      <a:pt x="389" y="2029"/>
                    </a:lnTo>
                    <a:lnTo>
                      <a:pt x="401" y="2032"/>
                    </a:lnTo>
                    <a:lnTo>
                      <a:pt x="410" y="2034"/>
                    </a:lnTo>
                    <a:lnTo>
                      <a:pt x="421" y="2038"/>
                    </a:lnTo>
                    <a:lnTo>
                      <a:pt x="432" y="2041"/>
                    </a:lnTo>
                    <a:lnTo>
                      <a:pt x="441" y="2046"/>
                    </a:lnTo>
                    <a:lnTo>
                      <a:pt x="451" y="2051"/>
                    </a:lnTo>
                    <a:lnTo>
                      <a:pt x="461" y="2057"/>
                    </a:lnTo>
                    <a:lnTo>
                      <a:pt x="468" y="2063"/>
                    </a:lnTo>
                    <a:lnTo>
                      <a:pt x="477" y="2069"/>
                    </a:lnTo>
                    <a:lnTo>
                      <a:pt x="486" y="2075"/>
                    </a:lnTo>
                    <a:lnTo>
                      <a:pt x="494" y="2083"/>
                    </a:lnTo>
                    <a:lnTo>
                      <a:pt x="502" y="2089"/>
                    </a:lnTo>
                    <a:lnTo>
                      <a:pt x="509" y="2096"/>
                    </a:lnTo>
                    <a:lnTo>
                      <a:pt x="515" y="2105"/>
                    </a:lnTo>
                    <a:lnTo>
                      <a:pt x="523" y="2113"/>
                    </a:lnTo>
                    <a:lnTo>
                      <a:pt x="529" y="2122"/>
                    </a:lnTo>
                    <a:lnTo>
                      <a:pt x="534" y="2131"/>
                    </a:lnTo>
                    <a:lnTo>
                      <a:pt x="540" y="2140"/>
                    </a:lnTo>
                    <a:lnTo>
                      <a:pt x="544" y="2150"/>
                    </a:lnTo>
                    <a:lnTo>
                      <a:pt x="549" y="2159"/>
                    </a:lnTo>
                    <a:lnTo>
                      <a:pt x="553" y="2169"/>
                    </a:lnTo>
                    <a:lnTo>
                      <a:pt x="557" y="2180"/>
                    </a:lnTo>
                    <a:lnTo>
                      <a:pt x="560" y="2191"/>
                    </a:lnTo>
                    <a:lnTo>
                      <a:pt x="561" y="2201"/>
                    </a:lnTo>
                    <a:lnTo>
                      <a:pt x="564" y="2212"/>
                    </a:lnTo>
                    <a:lnTo>
                      <a:pt x="566" y="2223"/>
                    </a:lnTo>
                    <a:lnTo>
                      <a:pt x="566" y="2233"/>
                    </a:lnTo>
                    <a:lnTo>
                      <a:pt x="566" y="2246"/>
                    </a:lnTo>
                    <a:lnTo>
                      <a:pt x="566" y="2256"/>
                    </a:lnTo>
                    <a:lnTo>
                      <a:pt x="566" y="2268"/>
                    </a:lnTo>
                    <a:lnTo>
                      <a:pt x="564" y="2279"/>
                    </a:lnTo>
                    <a:lnTo>
                      <a:pt x="561" y="2290"/>
                    </a:lnTo>
                    <a:lnTo>
                      <a:pt x="560" y="2300"/>
                    </a:lnTo>
                    <a:lnTo>
                      <a:pt x="557" y="2311"/>
                    </a:lnTo>
                    <a:lnTo>
                      <a:pt x="553" y="2322"/>
                    </a:lnTo>
                    <a:lnTo>
                      <a:pt x="549" y="2331"/>
                    </a:lnTo>
                    <a:lnTo>
                      <a:pt x="544" y="2341"/>
                    </a:lnTo>
                    <a:lnTo>
                      <a:pt x="540" y="2351"/>
                    </a:lnTo>
                    <a:lnTo>
                      <a:pt x="534" y="2360"/>
                    </a:lnTo>
                    <a:lnTo>
                      <a:pt x="529" y="2369"/>
                    </a:lnTo>
                    <a:lnTo>
                      <a:pt x="523" y="2378"/>
                    </a:lnTo>
                    <a:lnTo>
                      <a:pt x="515" y="2386"/>
                    </a:lnTo>
                    <a:lnTo>
                      <a:pt x="509" y="2393"/>
                    </a:lnTo>
                    <a:lnTo>
                      <a:pt x="502" y="2401"/>
                    </a:lnTo>
                    <a:lnTo>
                      <a:pt x="494" y="2408"/>
                    </a:lnTo>
                    <a:lnTo>
                      <a:pt x="486" y="2416"/>
                    </a:lnTo>
                    <a:lnTo>
                      <a:pt x="477" y="2422"/>
                    </a:lnTo>
                    <a:lnTo>
                      <a:pt x="468" y="2428"/>
                    </a:lnTo>
                    <a:lnTo>
                      <a:pt x="461" y="2434"/>
                    </a:lnTo>
                    <a:lnTo>
                      <a:pt x="451" y="2439"/>
                    </a:lnTo>
                    <a:lnTo>
                      <a:pt x="441" y="2443"/>
                    </a:lnTo>
                    <a:lnTo>
                      <a:pt x="432" y="2448"/>
                    </a:lnTo>
                    <a:lnTo>
                      <a:pt x="421" y="2453"/>
                    </a:lnTo>
                    <a:lnTo>
                      <a:pt x="410" y="2456"/>
                    </a:lnTo>
                    <a:lnTo>
                      <a:pt x="401" y="2459"/>
                    </a:lnTo>
                    <a:lnTo>
                      <a:pt x="389" y="2462"/>
                    </a:lnTo>
                    <a:lnTo>
                      <a:pt x="378" y="2463"/>
                    </a:lnTo>
                    <a:lnTo>
                      <a:pt x="368" y="2465"/>
                    </a:lnTo>
                    <a:lnTo>
                      <a:pt x="357" y="2465"/>
                    </a:lnTo>
                    <a:lnTo>
                      <a:pt x="345" y="246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" name="Freeform 8"/>
              <p:cNvSpPr>
                <a:spLocks noEditPoints="1"/>
              </p:cNvSpPr>
              <p:nvPr userDrawn="1"/>
            </p:nvSpPr>
            <p:spPr bwMode="auto">
              <a:xfrm>
                <a:off x="518245" y="-14567"/>
                <a:ext cx="647299" cy="1183839"/>
              </a:xfrm>
              <a:custGeom>
                <a:avLst/>
                <a:gdLst>
                  <a:gd name="T0" fmla="*/ 1394 w 1774"/>
                  <a:gd name="T1" fmla="*/ 1623 h 3228"/>
                  <a:gd name="T2" fmla="*/ 1403 w 1774"/>
                  <a:gd name="T3" fmla="*/ 1591 h 3228"/>
                  <a:gd name="T4" fmla="*/ 1420 w 1774"/>
                  <a:gd name="T5" fmla="*/ 1562 h 3228"/>
                  <a:gd name="T6" fmla="*/ 1443 w 1774"/>
                  <a:gd name="T7" fmla="*/ 1537 h 3228"/>
                  <a:gd name="T8" fmla="*/ 1470 w 1774"/>
                  <a:gd name="T9" fmla="*/ 1519 h 3228"/>
                  <a:gd name="T10" fmla="*/ 1502 w 1774"/>
                  <a:gd name="T11" fmla="*/ 1507 h 3228"/>
                  <a:gd name="T12" fmla="*/ 1530 w 1774"/>
                  <a:gd name="T13" fmla="*/ 1502 h 3228"/>
                  <a:gd name="T14" fmla="*/ 1530 w 1774"/>
                  <a:gd name="T15" fmla="*/ 1502 h 3228"/>
                  <a:gd name="T16" fmla="*/ 1530 w 1774"/>
                  <a:gd name="T17" fmla="*/ 1502 h 3228"/>
                  <a:gd name="T18" fmla="*/ 1530 w 1774"/>
                  <a:gd name="T19" fmla="*/ 1502 h 3228"/>
                  <a:gd name="T20" fmla="*/ 1757 w 1774"/>
                  <a:gd name="T21" fmla="*/ 1502 h 3228"/>
                  <a:gd name="T22" fmla="*/ 1761 w 1774"/>
                  <a:gd name="T23" fmla="*/ 1501 h 3228"/>
                  <a:gd name="T24" fmla="*/ 1766 w 1774"/>
                  <a:gd name="T25" fmla="*/ 1498 h 3228"/>
                  <a:gd name="T26" fmla="*/ 1769 w 1774"/>
                  <a:gd name="T27" fmla="*/ 1495 h 3228"/>
                  <a:gd name="T28" fmla="*/ 1770 w 1774"/>
                  <a:gd name="T29" fmla="*/ 1492 h 3228"/>
                  <a:gd name="T30" fmla="*/ 1772 w 1774"/>
                  <a:gd name="T31" fmla="*/ 1487 h 3228"/>
                  <a:gd name="T32" fmla="*/ 1774 w 1774"/>
                  <a:gd name="T33" fmla="*/ 1020 h 3228"/>
                  <a:gd name="T34" fmla="*/ 794 w 1774"/>
                  <a:gd name="T35" fmla="*/ 30 h 3228"/>
                  <a:gd name="T36" fmla="*/ 576 w 1774"/>
                  <a:gd name="T37" fmla="*/ 199 h 3228"/>
                  <a:gd name="T38" fmla="*/ 387 w 1774"/>
                  <a:gd name="T39" fmla="*/ 400 h 3228"/>
                  <a:gd name="T40" fmla="*/ 232 w 1774"/>
                  <a:gd name="T41" fmla="*/ 630 h 3228"/>
                  <a:gd name="T42" fmla="*/ 113 w 1774"/>
                  <a:gd name="T43" fmla="*/ 883 h 3228"/>
                  <a:gd name="T44" fmla="*/ 35 w 1774"/>
                  <a:gd name="T45" fmla="*/ 1155 h 3228"/>
                  <a:gd name="T46" fmla="*/ 2 w 1774"/>
                  <a:gd name="T47" fmla="*/ 1443 h 3228"/>
                  <a:gd name="T48" fmla="*/ 27 w 1774"/>
                  <a:gd name="T49" fmla="*/ 1813 h 3228"/>
                  <a:gd name="T50" fmla="*/ 133 w 1774"/>
                  <a:gd name="T51" fmla="*/ 2175 h 3228"/>
                  <a:gd name="T52" fmla="*/ 309 w 1774"/>
                  <a:gd name="T53" fmla="*/ 2500 h 3228"/>
                  <a:gd name="T54" fmla="*/ 549 w 1774"/>
                  <a:gd name="T55" fmla="*/ 2780 h 3228"/>
                  <a:gd name="T56" fmla="*/ 840 w 1774"/>
                  <a:gd name="T57" fmla="*/ 3005 h 3228"/>
                  <a:gd name="T58" fmla="*/ 1173 w 1774"/>
                  <a:gd name="T59" fmla="*/ 3167 h 3228"/>
                  <a:gd name="T60" fmla="*/ 1440 w 1774"/>
                  <a:gd name="T61" fmla="*/ 752 h 3228"/>
                  <a:gd name="T62" fmla="*/ 1495 w 1774"/>
                  <a:gd name="T63" fmla="*/ 762 h 3228"/>
                  <a:gd name="T64" fmla="*/ 1543 w 1774"/>
                  <a:gd name="T65" fmla="*/ 784 h 3228"/>
                  <a:gd name="T66" fmla="*/ 1585 w 1774"/>
                  <a:gd name="T67" fmla="*/ 816 h 3228"/>
                  <a:gd name="T68" fmla="*/ 1617 w 1774"/>
                  <a:gd name="T69" fmla="*/ 858 h 3228"/>
                  <a:gd name="T70" fmla="*/ 1639 w 1774"/>
                  <a:gd name="T71" fmla="*/ 907 h 3228"/>
                  <a:gd name="T72" fmla="*/ 1649 w 1774"/>
                  <a:gd name="T73" fmla="*/ 960 h 3228"/>
                  <a:gd name="T74" fmla="*/ 1644 w 1774"/>
                  <a:gd name="T75" fmla="*/ 1017 h 3228"/>
                  <a:gd name="T76" fmla="*/ 1627 w 1774"/>
                  <a:gd name="T77" fmla="*/ 1069 h 3228"/>
                  <a:gd name="T78" fmla="*/ 1598 w 1774"/>
                  <a:gd name="T79" fmla="*/ 1113 h 3228"/>
                  <a:gd name="T80" fmla="*/ 1560 w 1774"/>
                  <a:gd name="T81" fmla="*/ 1149 h 3228"/>
                  <a:gd name="T82" fmla="*/ 1515 w 1774"/>
                  <a:gd name="T83" fmla="*/ 1175 h 3228"/>
                  <a:gd name="T84" fmla="*/ 1463 w 1774"/>
                  <a:gd name="T85" fmla="*/ 1190 h 3228"/>
                  <a:gd name="T86" fmla="*/ 1406 w 1774"/>
                  <a:gd name="T87" fmla="*/ 1192 h 3228"/>
                  <a:gd name="T88" fmla="*/ 1353 w 1774"/>
                  <a:gd name="T89" fmla="*/ 1180 h 3228"/>
                  <a:gd name="T90" fmla="*/ 1304 w 1774"/>
                  <a:gd name="T91" fmla="*/ 1155 h 3228"/>
                  <a:gd name="T92" fmla="*/ 1265 w 1774"/>
                  <a:gd name="T93" fmla="*/ 1120 h 3228"/>
                  <a:gd name="T94" fmla="*/ 1234 w 1774"/>
                  <a:gd name="T95" fmla="*/ 1078 h 3228"/>
                  <a:gd name="T96" fmla="*/ 1214 w 1774"/>
                  <a:gd name="T97" fmla="*/ 1027 h 3228"/>
                  <a:gd name="T98" fmla="*/ 1208 w 1774"/>
                  <a:gd name="T99" fmla="*/ 973 h 3228"/>
                  <a:gd name="T100" fmla="*/ 1214 w 1774"/>
                  <a:gd name="T101" fmla="*/ 918 h 3228"/>
                  <a:gd name="T102" fmla="*/ 1234 w 1774"/>
                  <a:gd name="T103" fmla="*/ 868 h 3228"/>
                  <a:gd name="T104" fmla="*/ 1265 w 1774"/>
                  <a:gd name="T105" fmla="*/ 825 h 3228"/>
                  <a:gd name="T106" fmla="*/ 1304 w 1774"/>
                  <a:gd name="T107" fmla="*/ 790 h 3228"/>
                  <a:gd name="T108" fmla="*/ 1353 w 1774"/>
                  <a:gd name="T109" fmla="*/ 766 h 3228"/>
                  <a:gd name="T110" fmla="*/ 1406 w 1774"/>
                  <a:gd name="T111" fmla="*/ 753 h 3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74" h="3228">
                    <a:moveTo>
                      <a:pt x="1393" y="3228"/>
                    </a:moveTo>
                    <a:lnTo>
                      <a:pt x="1393" y="1644"/>
                    </a:lnTo>
                    <a:lnTo>
                      <a:pt x="1393" y="1636"/>
                    </a:lnTo>
                    <a:lnTo>
                      <a:pt x="1393" y="1630"/>
                    </a:lnTo>
                    <a:lnTo>
                      <a:pt x="1394" y="1623"/>
                    </a:lnTo>
                    <a:lnTo>
                      <a:pt x="1396" y="1617"/>
                    </a:lnTo>
                    <a:lnTo>
                      <a:pt x="1397" y="1609"/>
                    </a:lnTo>
                    <a:lnTo>
                      <a:pt x="1399" y="1603"/>
                    </a:lnTo>
                    <a:lnTo>
                      <a:pt x="1400" y="1597"/>
                    </a:lnTo>
                    <a:lnTo>
                      <a:pt x="1403" y="1591"/>
                    </a:lnTo>
                    <a:lnTo>
                      <a:pt x="1406" y="1585"/>
                    </a:lnTo>
                    <a:lnTo>
                      <a:pt x="1409" y="1579"/>
                    </a:lnTo>
                    <a:lnTo>
                      <a:pt x="1412" y="1573"/>
                    </a:lnTo>
                    <a:lnTo>
                      <a:pt x="1417" y="1566"/>
                    </a:lnTo>
                    <a:lnTo>
                      <a:pt x="1420" y="1562"/>
                    </a:lnTo>
                    <a:lnTo>
                      <a:pt x="1425" y="1556"/>
                    </a:lnTo>
                    <a:lnTo>
                      <a:pt x="1429" y="1551"/>
                    </a:lnTo>
                    <a:lnTo>
                      <a:pt x="1434" y="1547"/>
                    </a:lnTo>
                    <a:lnTo>
                      <a:pt x="1438" y="1542"/>
                    </a:lnTo>
                    <a:lnTo>
                      <a:pt x="1443" y="1537"/>
                    </a:lnTo>
                    <a:lnTo>
                      <a:pt x="1447" y="1533"/>
                    </a:lnTo>
                    <a:lnTo>
                      <a:pt x="1454" y="1528"/>
                    </a:lnTo>
                    <a:lnTo>
                      <a:pt x="1460" y="1525"/>
                    </a:lnTo>
                    <a:lnTo>
                      <a:pt x="1464" y="1522"/>
                    </a:lnTo>
                    <a:lnTo>
                      <a:pt x="1470" y="1519"/>
                    </a:lnTo>
                    <a:lnTo>
                      <a:pt x="1476" y="1516"/>
                    </a:lnTo>
                    <a:lnTo>
                      <a:pt x="1483" y="1513"/>
                    </a:lnTo>
                    <a:lnTo>
                      <a:pt x="1490" y="1510"/>
                    </a:lnTo>
                    <a:lnTo>
                      <a:pt x="1496" y="1509"/>
                    </a:lnTo>
                    <a:lnTo>
                      <a:pt x="1502" y="1507"/>
                    </a:lnTo>
                    <a:lnTo>
                      <a:pt x="1510" y="1506"/>
                    </a:lnTo>
                    <a:lnTo>
                      <a:pt x="1516" y="1504"/>
                    </a:lnTo>
                    <a:lnTo>
                      <a:pt x="1524" y="1504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530" y="1502"/>
                    </a:lnTo>
                    <a:lnTo>
                      <a:pt x="1754" y="1502"/>
                    </a:lnTo>
                    <a:lnTo>
                      <a:pt x="1754" y="1502"/>
                    </a:lnTo>
                    <a:lnTo>
                      <a:pt x="1755" y="1502"/>
                    </a:lnTo>
                    <a:lnTo>
                      <a:pt x="1757" y="1502"/>
                    </a:lnTo>
                    <a:lnTo>
                      <a:pt x="1757" y="1502"/>
                    </a:lnTo>
                    <a:lnTo>
                      <a:pt x="1758" y="1502"/>
                    </a:lnTo>
                    <a:lnTo>
                      <a:pt x="1758" y="1502"/>
                    </a:lnTo>
                    <a:lnTo>
                      <a:pt x="1760" y="1501"/>
                    </a:lnTo>
                    <a:lnTo>
                      <a:pt x="1760" y="1501"/>
                    </a:lnTo>
                    <a:lnTo>
                      <a:pt x="1761" y="1501"/>
                    </a:lnTo>
                    <a:lnTo>
                      <a:pt x="1763" y="1501"/>
                    </a:lnTo>
                    <a:lnTo>
                      <a:pt x="1763" y="1499"/>
                    </a:lnTo>
                    <a:lnTo>
                      <a:pt x="1764" y="1499"/>
                    </a:lnTo>
                    <a:lnTo>
                      <a:pt x="1764" y="1499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6" y="1498"/>
                    </a:lnTo>
                    <a:lnTo>
                      <a:pt x="1767" y="1496"/>
                    </a:lnTo>
                    <a:lnTo>
                      <a:pt x="1767" y="1496"/>
                    </a:lnTo>
                    <a:lnTo>
                      <a:pt x="1769" y="1495"/>
                    </a:lnTo>
                    <a:lnTo>
                      <a:pt x="1769" y="1495"/>
                    </a:lnTo>
                    <a:lnTo>
                      <a:pt x="1769" y="1493"/>
                    </a:lnTo>
                    <a:lnTo>
                      <a:pt x="1770" y="1493"/>
                    </a:lnTo>
                    <a:lnTo>
                      <a:pt x="1770" y="1492"/>
                    </a:lnTo>
                    <a:lnTo>
                      <a:pt x="1770" y="1492"/>
                    </a:lnTo>
                    <a:lnTo>
                      <a:pt x="1770" y="1490"/>
                    </a:lnTo>
                    <a:lnTo>
                      <a:pt x="1770" y="1490"/>
                    </a:lnTo>
                    <a:lnTo>
                      <a:pt x="1772" y="1489"/>
                    </a:lnTo>
                    <a:lnTo>
                      <a:pt x="1772" y="1489"/>
                    </a:lnTo>
                    <a:lnTo>
                      <a:pt x="1772" y="1487"/>
                    </a:lnTo>
                    <a:lnTo>
                      <a:pt x="1772" y="1486"/>
                    </a:lnTo>
                    <a:lnTo>
                      <a:pt x="1774" y="1486"/>
                    </a:lnTo>
                    <a:lnTo>
                      <a:pt x="1774" y="1484"/>
                    </a:lnTo>
                    <a:lnTo>
                      <a:pt x="1774" y="1439"/>
                    </a:lnTo>
                    <a:lnTo>
                      <a:pt x="1774" y="1020"/>
                    </a:lnTo>
                    <a:lnTo>
                      <a:pt x="1774" y="600"/>
                    </a:lnTo>
                    <a:lnTo>
                      <a:pt x="1774" y="176"/>
                    </a:lnTo>
                    <a:lnTo>
                      <a:pt x="1774" y="0"/>
                    </a:lnTo>
                    <a:lnTo>
                      <a:pt x="841" y="0"/>
                    </a:lnTo>
                    <a:lnTo>
                      <a:pt x="794" y="30"/>
                    </a:lnTo>
                    <a:lnTo>
                      <a:pt x="748" y="61"/>
                    </a:lnTo>
                    <a:lnTo>
                      <a:pt x="702" y="94"/>
                    </a:lnTo>
                    <a:lnTo>
                      <a:pt x="660" y="128"/>
                    </a:lnTo>
                    <a:lnTo>
                      <a:pt x="617" y="163"/>
                    </a:lnTo>
                    <a:lnTo>
                      <a:pt x="576" y="199"/>
                    </a:lnTo>
                    <a:lnTo>
                      <a:pt x="535" y="237"/>
                    </a:lnTo>
                    <a:lnTo>
                      <a:pt x="497" y="277"/>
                    </a:lnTo>
                    <a:lnTo>
                      <a:pt x="459" y="316"/>
                    </a:lnTo>
                    <a:lnTo>
                      <a:pt x="422" y="357"/>
                    </a:lnTo>
                    <a:lnTo>
                      <a:pt x="387" y="400"/>
                    </a:lnTo>
                    <a:lnTo>
                      <a:pt x="353" y="444"/>
                    </a:lnTo>
                    <a:lnTo>
                      <a:pt x="320" y="490"/>
                    </a:lnTo>
                    <a:lnTo>
                      <a:pt x="290" y="536"/>
                    </a:lnTo>
                    <a:lnTo>
                      <a:pt x="259" y="581"/>
                    </a:lnTo>
                    <a:lnTo>
                      <a:pt x="232" y="630"/>
                    </a:lnTo>
                    <a:lnTo>
                      <a:pt x="204" y="679"/>
                    </a:lnTo>
                    <a:lnTo>
                      <a:pt x="180" y="727"/>
                    </a:lnTo>
                    <a:lnTo>
                      <a:pt x="155" y="779"/>
                    </a:lnTo>
                    <a:lnTo>
                      <a:pt x="133" y="829"/>
                    </a:lnTo>
                    <a:lnTo>
                      <a:pt x="113" y="883"/>
                    </a:lnTo>
                    <a:lnTo>
                      <a:pt x="93" y="935"/>
                    </a:lnTo>
                    <a:lnTo>
                      <a:pt x="76" y="989"/>
                    </a:lnTo>
                    <a:lnTo>
                      <a:pt x="61" y="1044"/>
                    </a:lnTo>
                    <a:lnTo>
                      <a:pt x="47" y="1099"/>
                    </a:lnTo>
                    <a:lnTo>
                      <a:pt x="35" y="1155"/>
                    </a:lnTo>
                    <a:lnTo>
                      <a:pt x="24" y="1212"/>
                    </a:lnTo>
                    <a:lnTo>
                      <a:pt x="15" y="1268"/>
                    </a:lnTo>
                    <a:lnTo>
                      <a:pt x="9" y="1326"/>
                    </a:lnTo>
                    <a:lnTo>
                      <a:pt x="5" y="1385"/>
                    </a:lnTo>
                    <a:lnTo>
                      <a:pt x="2" y="1443"/>
                    </a:lnTo>
                    <a:lnTo>
                      <a:pt x="0" y="1502"/>
                    </a:lnTo>
                    <a:lnTo>
                      <a:pt x="2" y="1582"/>
                    </a:lnTo>
                    <a:lnTo>
                      <a:pt x="8" y="1659"/>
                    </a:lnTo>
                    <a:lnTo>
                      <a:pt x="15" y="1737"/>
                    </a:lnTo>
                    <a:lnTo>
                      <a:pt x="27" y="1813"/>
                    </a:lnTo>
                    <a:lnTo>
                      <a:pt x="43" y="1888"/>
                    </a:lnTo>
                    <a:lnTo>
                      <a:pt x="61" y="1962"/>
                    </a:lnTo>
                    <a:lnTo>
                      <a:pt x="82" y="2034"/>
                    </a:lnTo>
                    <a:lnTo>
                      <a:pt x="105" y="2105"/>
                    </a:lnTo>
                    <a:lnTo>
                      <a:pt x="133" y="2175"/>
                    </a:lnTo>
                    <a:lnTo>
                      <a:pt x="163" y="2244"/>
                    </a:lnTo>
                    <a:lnTo>
                      <a:pt x="195" y="2309"/>
                    </a:lnTo>
                    <a:lnTo>
                      <a:pt x="232" y="2375"/>
                    </a:lnTo>
                    <a:lnTo>
                      <a:pt x="268" y="2439"/>
                    </a:lnTo>
                    <a:lnTo>
                      <a:pt x="309" y="2500"/>
                    </a:lnTo>
                    <a:lnTo>
                      <a:pt x="352" y="2561"/>
                    </a:lnTo>
                    <a:lnTo>
                      <a:pt x="398" y="2619"/>
                    </a:lnTo>
                    <a:lnTo>
                      <a:pt x="445" y="2675"/>
                    </a:lnTo>
                    <a:lnTo>
                      <a:pt x="495" y="2728"/>
                    </a:lnTo>
                    <a:lnTo>
                      <a:pt x="549" y="2780"/>
                    </a:lnTo>
                    <a:lnTo>
                      <a:pt x="602" y="2830"/>
                    </a:lnTo>
                    <a:lnTo>
                      <a:pt x="658" y="2877"/>
                    </a:lnTo>
                    <a:lnTo>
                      <a:pt x="716" y="2923"/>
                    </a:lnTo>
                    <a:lnTo>
                      <a:pt x="777" y="2966"/>
                    </a:lnTo>
                    <a:lnTo>
                      <a:pt x="840" y="3005"/>
                    </a:lnTo>
                    <a:lnTo>
                      <a:pt x="902" y="3043"/>
                    </a:lnTo>
                    <a:lnTo>
                      <a:pt x="968" y="3078"/>
                    </a:lnTo>
                    <a:lnTo>
                      <a:pt x="1035" y="3110"/>
                    </a:lnTo>
                    <a:lnTo>
                      <a:pt x="1103" y="3139"/>
                    </a:lnTo>
                    <a:lnTo>
                      <a:pt x="1173" y="3167"/>
                    </a:lnTo>
                    <a:lnTo>
                      <a:pt x="1245" y="3190"/>
                    </a:lnTo>
                    <a:lnTo>
                      <a:pt x="1318" y="3211"/>
                    </a:lnTo>
                    <a:lnTo>
                      <a:pt x="1393" y="3228"/>
                    </a:lnTo>
                    <a:close/>
                    <a:moveTo>
                      <a:pt x="1429" y="752"/>
                    </a:moveTo>
                    <a:lnTo>
                      <a:pt x="1440" y="752"/>
                    </a:lnTo>
                    <a:lnTo>
                      <a:pt x="1451" y="753"/>
                    </a:lnTo>
                    <a:lnTo>
                      <a:pt x="1463" y="755"/>
                    </a:lnTo>
                    <a:lnTo>
                      <a:pt x="1473" y="756"/>
                    </a:lnTo>
                    <a:lnTo>
                      <a:pt x="1484" y="759"/>
                    </a:lnTo>
                    <a:lnTo>
                      <a:pt x="1495" y="762"/>
                    </a:lnTo>
                    <a:lnTo>
                      <a:pt x="1504" y="766"/>
                    </a:lnTo>
                    <a:lnTo>
                      <a:pt x="1515" y="770"/>
                    </a:lnTo>
                    <a:lnTo>
                      <a:pt x="1524" y="773"/>
                    </a:lnTo>
                    <a:lnTo>
                      <a:pt x="1534" y="779"/>
                    </a:lnTo>
                    <a:lnTo>
                      <a:pt x="1543" y="784"/>
                    </a:lnTo>
                    <a:lnTo>
                      <a:pt x="1551" y="790"/>
                    </a:lnTo>
                    <a:lnTo>
                      <a:pt x="1560" y="796"/>
                    </a:lnTo>
                    <a:lnTo>
                      <a:pt x="1569" y="802"/>
                    </a:lnTo>
                    <a:lnTo>
                      <a:pt x="1577" y="810"/>
                    </a:lnTo>
                    <a:lnTo>
                      <a:pt x="1585" y="816"/>
                    </a:lnTo>
                    <a:lnTo>
                      <a:pt x="1592" y="825"/>
                    </a:lnTo>
                    <a:lnTo>
                      <a:pt x="1598" y="833"/>
                    </a:lnTo>
                    <a:lnTo>
                      <a:pt x="1606" y="840"/>
                    </a:lnTo>
                    <a:lnTo>
                      <a:pt x="1612" y="849"/>
                    </a:lnTo>
                    <a:lnTo>
                      <a:pt x="1617" y="858"/>
                    </a:lnTo>
                    <a:lnTo>
                      <a:pt x="1623" y="868"/>
                    </a:lnTo>
                    <a:lnTo>
                      <a:pt x="1627" y="877"/>
                    </a:lnTo>
                    <a:lnTo>
                      <a:pt x="1632" y="886"/>
                    </a:lnTo>
                    <a:lnTo>
                      <a:pt x="1636" y="896"/>
                    </a:lnTo>
                    <a:lnTo>
                      <a:pt x="1639" y="907"/>
                    </a:lnTo>
                    <a:lnTo>
                      <a:pt x="1642" y="918"/>
                    </a:lnTo>
                    <a:lnTo>
                      <a:pt x="1644" y="928"/>
                    </a:lnTo>
                    <a:lnTo>
                      <a:pt x="1647" y="939"/>
                    </a:lnTo>
                    <a:lnTo>
                      <a:pt x="1649" y="950"/>
                    </a:lnTo>
                    <a:lnTo>
                      <a:pt x="1649" y="960"/>
                    </a:lnTo>
                    <a:lnTo>
                      <a:pt x="1649" y="973"/>
                    </a:lnTo>
                    <a:lnTo>
                      <a:pt x="1649" y="983"/>
                    </a:lnTo>
                    <a:lnTo>
                      <a:pt x="1649" y="995"/>
                    </a:lnTo>
                    <a:lnTo>
                      <a:pt x="1647" y="1006"/>
                    </a:lnTo>
                    <a:lnTo>
                      <a:pt x="1644" y="1017"/>
                    </a:lnTo>
                    <a:lnTo>
                      <a:pt x="1642" y="1027"/>
                    </a:lnTo>
                    <a:lnTo>
                      <a:pt x="1639" y="1038"/>
                    </a:lnTo>
                    <a:lnTo>
                      <a:pt x="1636" y="1049"/>
                    </a:lnTo>
                    <a:lnTo>
                      <a:pt x="1632" y="1058"/>
                    </a:lnTo>
                    <a:lnTo>
                      <a:pt x="1627" y="1069"/>
                    </a:lnTo>
                    <a:lnTo>
                      <a:pt x="1623" y="1078"/>
                    </a:lnTo>
                    <a:lnTo>
                      <a:pt x="1617" y="1087"/>
                    </a:lnTo>
                    <a:lnTo>
                      <a:pt x="1612" y="1096"/>
                    </a:lnTo>
                    <a:lnTo>
                      <a:pt x="1606" y="1105"/>
                    </a:lnTo>
                    <a:lnTo>
                      <a:pt x="1598" y="1113"/>
                    </a:lnTo>
                    <a:lnTo>
                      <a:pt x="1592" y="1120"/>
                    </a:lnTo>
                    <a:lnTo>
                      <a:pt x="1585" y="1128"/>
                    </a:lnTo>
                    <a:lnTo>
                      <a:pt x="1577" y="1136"/>
                    </a:lnTo>
                    <a:lnTo>
                      <a:pt x="1569" y="1143"/>
                    </a:lnTo>
                    <a:lnTo>
                      <a:pt x="1560" y="1149"/>
                    </a:lnTo>
                    <a:lnTo>
                      <a:pt x="1551" y="1155"/>
                    </a:lnTo>
                    <a:lnTo>
                      <a:pt x="1543" y="1161"/>
                    </a:lnTo>
                    <a:lnTo>
                      <a:pt x="1534" y="1166"/>
                    </a:lnTo>
                    <a:lnTo>
                      <a:pt x="1524" y="1171"/>
                    </a:lnTo>
                    <a:lnTo>
                      <a:pt x="1515" y="1175"/>
                    </a:lnTo>
                    <a:lnTo>
                      <a:pt x="1504" y="1180"/>
                    </a:lnTo>
                    <a:lnTo>
                      <a:pt x="1495" y="1183"/>
                    </a:lnTo>
                    <a:lnTo>
                      <a:pt x="1484" y="1186"/>
                    </a:lnTo>
                    <a:lnTo>
                      <a:pt x="1473" y="1189"/>
                    </a:lnTo>
                    <a:lnTo>
                      <a:pt x="1463" y="1190"/>
                    </a:lnTo>
                    <a:lnTo>
                      <a:pt x="1451" y="1192"/>
                    </a:lnTo>
                    <a:lnTo>
                      <a:pt x="1440" y="1193"/>
                    </a:lnTo>
                    <a:lnTo>
                      <a:pt x="1429" y="1193"/>
                    </a:lnTo>
                    <a:lnTo>
                      <a:pt x="1417" y="1193"/>
                    </a:lnTo>
                    <a:lnTo>
                      <a:pt x="1406" y="1192"/>
                    </a:lnTo>
                    <a:lnTo>
                      <a:pt x="1394" y="1190"/>
                    </a:lnTo>
                    <a:lnTo>
                      <a:pt x="1383" y="1189"/>
                    </a:lnTo>
                    <a:lnTo>
                      <a:pt x="1373" y="1186"/>
                    </a:lnTo>
                    <a:lnTo>
                      <a:pt x="1362" y="1183"/>
                    </a:lnTo>
                    <a:lnTo>
                      <a:pt x="1353" y="1180"/>
                    </a:lnTo>
                    <a:lnTo>
                      <a:pt x="1342" y="1175"/>
                    </a:lnTo>
                    <a:lnTo>
                      <a:pt x="1333" y="1171"/>
                    </a:lnTo>
                    <a:lnTo>
                      <a:pt x="1323" y="1166"/>
                    </a:lnTo>
                    <a:lnTo>
                      <a:pt x="1313" y="1161"/>
                    </a:lnTo>
                    <a:lnTo>
                      <a:pt x="1304" y="1155"/>
                    </a:lnTo>
                    <a:lnTo>
                      <a:pt x="1297" y="1149"/>
                    </a:lnTo>
                    <a:lnTo>
                      <a:pt x="1287" y="1143"/>
                    </a:lnTo>
                    <a:lnTo>
                      <a:pt x="1280" y="1136"/>
                    </a:lnTo>
                    <a:lnTo>
                      <a:pt x="1272" y="1128"/>
                    </a:lnTo>
                    <a:lnTo>
                      <a:pt x="1265" y="1120"/>
                    </a:lnTo>
                    <a:lnTo>
                      <a:pt x="1259" y="1113"/>
                    </a:lnTo>
                    <a:lnTo>
                      <a:pt x="1251" y="1105"/>
                    </a:lnTo>
                    <a:lnTo>
                      <a:pt x="1245" y="1096"/>
                    </a:lnTo>
                    <a:lnTo>
                      <a:pt x="1240" y="1087"/>
                    </a:lnTo>
                    <a:lnTo>
                      <a:pt x="1234" y="1078"/>
                    </a:lnTo>
                    <a:lnTo>
                      <a:pt x="1230" y="1069"/>
                    </a:lnTo>
                    <a:lnTo>
                      <a:pt x="1225" y="1058"/>
                    </a:lnTo>
                    <a:lnTo>
                      <a:pt x="1220" y="1049"/>
                    </a:lnTo>
                    <a:lnTo>
                      <a:pt x="1217" y="1038"/>
                    </a:lnTo>
                    <a:lnTo>
                      <a:pt x="1214" y="1027"/>
                    </a:lnTo>
                    <a:lnTo>
                      <a:pt x="1213" y="1017"/>
                    </a:lnTo>
                    <a:lnTo>
                      <a:pt x="1210" y="1006"/>
                    </a:lnTo>
                    <a:lnTo>
                      <a:pt x="1208" y="995"/>
                    </a:lnTo>
                    <a:lnTo>
                      <a:pt x="1208" y="983"/>
                    </a:lnTo>
                    <a:lnTo>
                      <a:pt x="1208" y="973"/>
                    </a:lnTo>
                    <a:lnTo>
                      <a:pt x="1208" y="960"/>
                    </a:lnTo>
                    <a:lnTo>
                      <a:pt x="1208" y="950"/>
                    </a:lnTo>
                    <a:lnTo>
                      <a:pt x="1210" y="939"/>
                    </a:lnTo>
                    <a:lnTo>
                      <a:pt x="1213" y="928"/>
                    </a:lnTo>
                    <a:lnTo>
                      <a:pt x="1214" y="918"/>
                    </a:lnTo>
                    <a:lnTo>
                      <a:pt x="1217" y="907"/>
                    </a:lnTo>
                    <a:lnTo>
                      <a:pt x="1220" y="896"/>
                    </a:lnTo>
                    <a:lnTo>
                      <a:pt x="1225" y="886"/>
                    </a:lnTo>
                    <a:lnTo>
                      <a:pt x="1230" y="877"/>
                    </a:lnTo>
                    <a:lnTo>
                      <a:pt x="1234" y="868"/>
                    </a:lnTo>
                    <a:lnTo>
                      <a:pt x="1240" y="858"/>
                    </a:lnTo>
                    <a:lnTo>
                      <a:pt x="1245" y="849"/>
                    </a:lnTo>
                    <a:lnTo>
                      <a:pt x="1251" y="840"/>
                    </a:lnTo>
                    <a:lnTo>
                      <a:pt x="1259" y="833"/>
                    </a:lnTo>
                    <a:lnTo>
                      <a:pt x="1265" y="825"/>
                    </a:lnTo>
                    <a:lnTo>
                      <a:pt x="1272" y="816"/>
                    </a:lnTo>
                    <a:lnTo>
                      <a:pt x="1280" y="810"/>
                    </a:lnTo>
                    <a:lnTo>
                      <a:pt x="1287" y="802"/>
                    </a:lnTo>
                    <a:lnTo>
                      <a:pt x="1297" y="796"/>
                    </a:lnTo>
                    <a:lnTo>
                      <a:pt x="1304" y="790"/>
                    </a:lnTo>
                    <a:lnTo>
                      <a:pt x="1313" y="784"/>
                    </a:lnTo>
                    <a:lnTo>
                      <a:pt x="1323" y="779"/>
                    </a:lnTo>
                    <a:lnTo>
                      <a:pt x="1333" y="773"/>
                    </a:lnTo>
                    <a:lnTo>
                      <a:pt x="1342" y="770"/>
                    </a:lnTo>
                    <a:lnTo>
                      <a:pt x="1353" y="766"/>
                    </a:lnTo>
                    <a:lnTo>
                      <a:pt x="1362" y="762"/>
                    </a:lnTo>
                    <a:lnTo>
                      <a:pt x="1373" y="759"/>
                    </a:lnTo>
                    <a:lnTo>
                      <a:pt x="1383" y="756"/>
                    </a:lnTo>
                    <a:lnTo>
                      <a:pt x="1394" y="755"/>
                    </a:lnTo>
                    <a:lnTo>
                      <a:pt x="1406" y="753"/>
                    </a:lnTo>
                    <a:lnTo>
                      <a:pt x="1417" y="752"/>
                    </a:lnTo>
                    <a:lnTo>
                      <a:pt x="1429" y="75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 userDrawn="1">
            <p:ph type="ctrTitle"/>
          </p:nvPr>
        </p:nvSpPr>
        <p:spPr>
          <a:xfrm>
            <a:off x="3618668" y="635445"/>
            <a:ext cx="5682326" cy="2363787"/>
          </a:xfrm>
        </p:spPr>
        <p:txBody>
          <a:bodyPr/>
          <a:lstStyle>
            <a:lvl1pPr>
              <a:defRPr sz="42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</p:nvPr>
        </p:nvSpPr>
        <p:spPr>
          <a:xfrm>
            <a:off x="3618666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3" name="Прямоугольник 11"/>
          <p:cNvSpPr/>
          <p:nvPr userDrawn="1"/>
        </p:nvSpPr>
        <p:spPr>
          <a:xfrm>
            <a:off x="7190105" y="6103621"/>
            <a:ext cx="2641600" cy="6629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ru-RU"/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rgbClr val="00985F"/>
          </a:solidFill>
        </p:grpSpPr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9" name="Rectangle 18"/>
          <p:cNvSpPr/>
          <p:nvPr userDrawn="1"/>
        </p:nvSpPr>
        <p:spPr>
          <a:xfrm>
            <a:off x="224465" y="6373628"/>
            <a:ext cx="292711" cy="2835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558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 flipH="1">
            <a:off x="870000" y="-13390"/>
            <a:ext cx="9036000" cy="6025243"/>
          </a:xfrm>
          <a:custGeom>
            <a:avLst/>
            <a:gdLst>
              <a:gd name="T0" fmla="*/ 0 w 6236"/>
              <a:gd name="T1" fmla="*/ 4030 h 4217"/>
              <a:gd name="T2" fmla="*/ 121 w 6236"/>
              <a:gd name="T3" fmla="*/ 4062 h 4217"/>
              <a:gd name="T4" fmla="*/ 359 w 6236"/>
              <a:gd name="T5" fmla="*/ 4117 h 4217"/>
              <a:gd name="T6" fmla="*/ 601 w 6236"/>
              <a:gd name="T7" fmla="*/ 4160 h 4217"/>
              <a:gd name="T8" fmla="*/ 849 w 6236"/>
              <a:gd name="T9" fmla="*/ 4193 h 4217"/>
              <a:gd name="T10" fmla="*/ 1101 w 6236"/>
              <a:gd name="T11" fmla="*/ 4212 h 4217"/>
              <a:gd name="T12" fmla="*/ 1354 w 6236"/>
              <a:gd name="T13" fmla="*/ 4217 h 4217"/>
              <a:gd name="T14" fmla="*/ 1607 w 6236"/>
              <a:gd name="T15" fmla="*/ 4212 h 4217"/>
              <a:gd name="T16" fmla="*/ 1859 w 6236"/>
              <a:gd name="T17" fmla="*/ 4193 h 4217"/>
              <a:gd name="T18" fmla="*/ 2105 w 6236"/>
              <a:gd name="T19" fmla="*/ 4160 h 4217"/>
              <a:gd name="T20" fmla="*/ 2349 w 6236"/>
              <a:gd name="T21" fmla="*/ 4117 h 4217"/>
              <a:gd name="T22" fmla="*/ 2587 w 6236"/>
              <a:gd name="T23" fmla="*/ 4062 h 4217"/>
              <a:gd name="T24" fmla="*/ 2821 w 6236"/>
              <a:gd name="T25" fmla="*/ 3996 h 4217"/>
              <a:gd name="T26" fmla="*/ 3050 w 6236"/>
              <a:gd name="T27" fmla="*/ 3918 h 4217"/>
              <a:gd name="T28" fmla="*/ 3275 w 6236"/>
              <a:gd name="T29" fmla="*/ 3830 h 4217"/>
              <a:gd name="T30" fmla="*/ 3493 w 6236"/>
              <a:gd name="T31" fmla="*/ 3731 h 4217"/>
              <a:gd name="T32" fmla="*/ 3706 w 6236"/>
              <a:gd name="T33" fmla="*/ 3623 h 4217"/>
              <a:gd name="T34" fmla="*/ 3912 w 6236"/>
              <a:gd name="T35" fmla="*/ 3504 h 4217"/>
              <a:gd name="T36" fmla="*/ 4113 w 6236"/>
              <a:gd name="T37" fmla="*/ 3376 h 4217"/>
              <a:gd name="T38" fmla="*/ 4306 w 6236"/>
              <a:gd name="T39" fmla="*/ 3238 h 4217"/>
              <a:gd name="T40" fmla="*/ 4493 w 6236"/>
              <a:gd name="T41" fmla="*/ 3092 h 4217"/>
              <a:gd name="T42" fmla="*/ 4671 w 6236"/>
              <a:gd name="T43" fmla="*/ 2937 h 4217"/>
              <a:gd name="T44" fmla="*/ 4843 w 6236"/>
              <a:gd name="T45" fmla="*/ 2772 h 4217"/>
              <a:gd name="T46" fmla="*/ 5005 w 6236"/>
              <a:gd name="T47" fmla="*/ 2602 h 4217"/>
              <a:gd name="T48" fmla="*/ 5160 w 6236"/>
              <a:gd name="T49" fmla="*/ 2423 h 4217"/>
              <a:gd name="T50" fmla="*/ 5308 w 6236"/>
              <a:gd name="T51" fmla="*/ 2235 h 4217"/>
              <a:gd name="T52" fmla="*/ 5446 w 6236"/>
              <a:gd name="T53" fmla="*/ 2042 h 4217"/>
              <a:gd name="T54" fmla="*/ 5573 w 6236"/>
              <a:gd name="T55" fmla="*/ 1842 h 4217"/>
              <a:gd name="T56" fmla="*/ 5692 w 6236"/>
              <a:gd name="T57" fmla="*/ 1636 h 4217"/>
              <a:gd name="T58" fmla="*/ 5801 w 6236"/>
              <a:gd name="T59" fmla="*/ 1422 h 4217"/>
              <a:gd name="T60" fmla="*/ 5900 w 6236"/>
              <a:gd name="T61" fmla="*/ 1205 h 4217"/>
              <a:gd name="T62" fmla="*/ 5989 w 6236"/>
              <a:gd name="T63" fmla="*/ 980 h 4217"/>
              <a:gd name="T64" fmla="*/ 6066 w 6236"/>
              <a:gd name="T65" fmla="*/ 751 h 4217"/>
              <a:gd name="T66" fmla="*/ 6132 w 6236"/>
              <a:gd name="T67" fmla="*/ 516 h 4217"/>
              <a:gd name="T68" fmla="*/ 6187 w 6236"/>
              <a:gd name="T69" fmla="*/ 278 h 4217"/>
              <a:gd name="T70" fmla="*/ 6231 w 6236"/>
              <a:gd name="T71" fmla="*/ 34 h 4217"/>
              <a:gd name="T72" fmla="*/ 0 w 6236"/>
              <a:gd name="T73" fmla="*/ 0 h 4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236" h="4217">
                <a:moveTo>
                  <a:pt x="0" y="0"/>
                </a:moveTo>
                <a:lnTo>
                  <a:pt x="0" y="4030"/>
                </a:lnTo>
                <a:lnTo>
                  <a:pt x="4" y="4030"/>
                </a:lnTo>
                <a:lnTo>
                  <a:pt x="121" y="4062"/>
                </a:lnTo>
                <a:lnTo>
                  <a:pt x="240" y="4092"/>
                </a:lnTo>
                <a:lnTo>
                  <a:pt x="359" y="4117"/>
                </a:lnTo>
                <a:lnTo>
                  <a:pt x="480" y="4142"/>
                </a:lnTo>
                <a:lnTo>
                  <a:pt x="601" y="4160"/>
                </a:lnTo>
                <a:lnTo>
                  <a:pt x="726" y="4178"/>
                </a:lnTo>
                <a:lnTo>
                  <a:pt x="849" y="4193"/>
                </a:lnTo>
                <a:lnTo>
                  <a:pt x="974" y="4204"/>
                </a:lnTo>
                <a:lnTo>
                  <a:pt x="1101" y="4212"/>
                </a:lnTo>
                <a:lnTo>
                  <a:pt x="1227" y="4217"/>
                </a:lnTo>
                <a:lnTo>
                  <a:pt x="1354" y="4217"/>
                </a:lnTo>
                <a:lnTo>
                  <a:pt x="1481" y="4217"/>
                </a:lnTo>
                <a:lnTo>
                  <a:pt x="1607" y="4212"/>
                </a:lnTo>
                <a:lnTo>
                  <a:pt x="1734" y="4204"/>
                </a:lnTo>
                <a:lnTo>
                  <a:pt x="1859" y="4193"/>
                </a:lnTo>
                <a:lnTo>
                  <a:pt x="1982" y="4178"/>
                </a:lnTo>
                <a:lnTo>
                  <a:pt x="2105" y="4160"/>
                </a:lnTo>
                <a:lnTo>
                  <a:pt x="2227" y="4142"/>
                </a:lnTo>
                <a:lnTo>
                  <a:pt x="2349" y="4117"/>
                </a:lnTo>
                <a:lnTo>
                  <a:pt x="2468" y="4092"/>
                </a:lnTo>
                <a:lnTo>
                  <a:pt x="2587" y="4062"/>
                </a:lnTo>
                <a:lnTo>
                  <a:pt x="2704" y="4030"/>
                </a:lnTo>
                <a:lnTo>
                  <a:pt x="2821" y="3996"/>
                </a:lnTo>
                <a:lnTo>
                  <a:pt x="2937" y="3958"/>
                </a:lnTo>
                <a:lnTo>
                  <a:pt x="3050" y="3918"/>
                </a:lnTo>
                <a:lnTo>
                  <a:pt x="3163" y="3875"/>
                </a:lnTo>
                <a:lnTo>
                  <a:pt x="3275" y="3830"/>
                </a:lnTo>
                <a:lnTo>
                  <a:pt x="3385" y="3782"/>
                </a:lnTo>
                <a:lnTo>
                  <a:pt x="3493" y="3731"/>
                </a:lnTo>
                <a:lnTo>
                  <a:pt x="3600" y="3678"/>
                </a:lnTo>
                <a:lnTo>
                  <a:pt x="3706" y="3623"/>
                </a:lnTo>
                <a:lnTo>
                  <a:pt x="3810" y="3565"/>
                </a:lnTo>
                <a:lnTo>
                  <a:pt x="3912" y="3504"/>
                </a:lnTo>
                <a:lnTo>
                  <a:pt x="4013" y="3440"/>
                </a:lnTo>
                <a:lnTo>
                  <a:pt x="4113" y="3376"/>
                </a:lnTo>
                <a:lnTo>
                  <a:pt x="4209" y="3308"/>
                </a:lnTo>
                <a:lnTo>
                  <a:pt x="4306" y="3238"/>
                </a:lnTo>
                <a:lnTo>
                  <a:pt x="4400" y="3166"/>
                </a:lnTo>
                <a:lnTo>
                  <a:pt x="4493" y="3092"/>
                </a:lnTo>
                <a:lnTo>
                  <a:pt x="4582" y="3014"/>
                </a:lnTo>
                <a:lnTo>
                  <a:pt x="4671" y="2937"/>
                </a:lnTo>
                <a:lnTo>
                  <a:pt x="4758" y="2856"/>
                </a:lnTo>
                <a:lnTo>
                  <a:pt x="4843" y="2772"/>
                </a:lnTo>
                <a:lnTo>
                  <a:pt x="4926" y="2687"/>
                </a:lnTo>
                <a:lnTo>
                  <a:pt x="5005" y="2602"/>
                </a:lnTo>
                <a:lnTo>
                  <a:pt x="5085" y="2513"/>
                </a:lnTo>
                <a:lnTo>
                  <a:pt x="5160" y="2423"/>
                </a:lnTo>
                <a:lnTo>
                  <a:pt x="5236" y="2330"/>
                </a:lnTo>
                <a:lnTo>
                  <a:pt x="5308" y="2235"/>
                </a:lnTo>
                <a:lnTo>
                  <a:pt x="5378" y="2141"/>
                </a:lnTo>
                <a:lnTo>
                  <a:pt x="5446" y="2042"/>
                </a:lnTo>
                <a:lnTo>
                  <a:pt x="5510" y="1944"/>
                </a:lnTo>
                <a:lnTo>
                  <a:pt x="5573" y="1842"/>
                </a:lnTo>
                <a:lnTo>
                  <a:pt x="5635" y="1740"/>
                </a:lnTo>
                <a:lnTo>
                  <a:pt x="5692" y="1636"/>
                </a:lnTo>
                <a:lnTo>
                  <a:pt x="5748" y="1530"/>
                </a:lnTo>
                <a:lnTo>
                  <a:pt x="5801" y="1422"/>
                </a:lnTo>
                <a:lnTo>
                  <a:pt x="5852" y="1314"/>
                </a:lnTo>
                <a:lnTo>
                  <a:pt x="5900" y="1205"/>
                </a:lnTo>
                <a:lnTo>
                  <a:pt x="5945" y="1093"/>
                </a:lnTo>
                <a:lnTo>
                  <a:pt x="5989" y="980"/>
                </a:lnTo>
                <a:lnTo>
                  <a:pt x="6028" y="866"/>
                </a:lnTo>
                <a:lnTo>
                  <a:pt x="6066" y="751"/>
                </a:lnTo>
                <a:lnTo>
                  <a:pt x="6100" y="634"/>
                </a:lnTo>
                <a:lnTo>
                  <a:pt x="6132" y="516"/>
                </a:lnTo>
                <a:lnTo>
                  <a:pt x="6161" y="397"/>
                </a:lnTo>
                <a:lnTo>
                  <a:pt x="6187" y="278"/>
                </a:lnTo>
                <a:lnTo>
                  <a:pt x="6210" y="157"/>
                </a:lnTo>
                <a:lnTo>
                  <a:pt x="6231" y="34"/>
                </a:lnTo>
                <a:lnTo>
                  <a:pt x="62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618668" y="635445"/>
            <a:ext cx="5682326" cy="2363787"/>
          </a:xfrm>
        </p:spPr>
        <p:txBody>
          <a:bodyPr/>
          <a:lstStyle>
            <a:lvl1pPr>
              <a:defRPr sz="4200" b="1">
                <a:solidFill>
                  <a:srgbClr val="57068C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18666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rgbClr val="57068C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rgbClr val="FFFFFF"/>
          </a:solidFill>
        </p:grpSpPr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3" name="Овал 10"/>
          <p:cNvSpPr/>
          <p:nvPr userDrawn="1"/>
        </p:nvSpPr>
        <p:spPr>
          <a:xfrm>
            <a:off x="655556" y="682058"/>
            <a:ext cx="1620000" cy="16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0" rIns="107287" bIns="53643" rtlCol="0" anchor="ctr"/>
          <a:lstStyle/>
          <a:p>
            <a:pPr algn="ctr"/>
            <a:endParaRPr lang="ru-RU" sz="9400" b="0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65995" y="682058"/>
            <a:ext cx="1608674" cy="1728636"/>
          </a:xfrm>
        </p:spPr>
        <p:txBody>
          <a:bodyPr lIns="0" tIns="0" rIns="0" bIns="0" anchor="t">
            <a:noAutofit/>
          </a:bodyPr>
          <a:lstStyle>
            <a:lvl1pPr marL="0" indent="0" algn="ctr">
              <a:buNone/>
              <a:defRPr sz="9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90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6"/>
          <p:cNvSpPr>
            <a:spLocks/>
          </p:cNvSpPr>
          <p:nvPr userDrawn="1"/>
        </p:nvSpPr>
        <p:spPr bwMode="auto">
          <a:xfrm>
            <a:off x="0" y="0"/>
            <a:ext cx="9030318" cy="6025243"/>
          </a:xfrm>
          <a:custGeom>
            <a:avLst/>
            <a:gdLst>
              <a:gd name="T0" fmla="*/ 0 w 6236"/>
              <a:gd name="T1" fmla="*/ 4030 h 4217"/>
              <a:gd name="T2" fmla="*/ 121 w 6236"/>
              <a:gd name="T3" fmla="*/ 4062 h 4217"/>
              <a:gd name="T4" fmla="*/ 359 w 6236"/>
              <a:gd name="T5" fmla="*/ 4117 h 4217"/>
              <a:gd name="T6" fmla="*/ 601 w 6236"/>
              <a:gd name="T7" fmla="*/ 4160 h 4217"/>
              <a:gd name="T8" fmla="*/ 849 w 6236"/>
              <a:gd name="T9" fmla="*/ 4193 h 4217"/>
              <a:gd name="T10" fmla="*/ 1101 w 6236"/>
              <a:gd name="T11" fmla="*/ 4212 h 4217"/>
              <a:gd name="T12" fmla="*/ 1354 w 6236"/>
              <a:gd name="T13" fmla="*/ 4217 h 4217"/>
              <a:gd name="T14" fmla="*/ 1607 w 6236"/>
              <a:gd name="T15" fmla="*/ 4212 h 4217"/>
              <a:gd name="T16" fmla="*/ 1859 w 6236"/>
              <a:gd name="T17" fmla="*/ 4193 h 4217"/>
              <a:gd name="T18" fmla="*/ 2105 w 6236"/>
              <a:gd name="T19" fmla="*/ 4160 h 4217"/>
              <a:gd name="T20" fmla="*/ 2349 w 6236"/>
              <a:gd name="T21" fmla="*/ 4117 h 4217"/>
              <a:gd name="T22" fmla="*/ 2587 w 6236"/>
              <a:gd name="T23" fmla="*/ 4062 h 4217"/>
              <a:gd name="T24" fmla="*/ 2821 w 6236"/>
              <a:gd name="T25" fmla="*/ 3996 h 4217"/>
              <a:gd name="T26" fmla="*/ 3050 w 6236"/>
              <a:gd name="T27" fmla="*/ 3918 h 4217"/>
              <a:gd name="T28" fmla="*/ 3275 w 6236"/>
              <a:gd name="T29" fmla="*/ 3830 h 4217"/>
              <a:gd name="T30" fmla="*/ 3493 w 6236"/>
              <a:gd name="T31" fmla="*/ 3731 h 4217"/>
              <a:gd name="T32" fmla="*/ 3706 w 6236"/>
              <a:gd name="T33" fmla="*/ 3623 h 4217"/>
              <a:gd name="T34" fmla="*/ 3912 w 6236"/>
              <a:gd name="T35" fmla="*/ 3504 h 4217"/>
              <a:gd name="T36" fmla="*/ 4113 w 6236"/>
              <a:gd name="T37" fmla="*/ 3376 h 4217"/>
              <a:gd name="T38" fmla="*/ 4306 w 6236"/>
              <a:gd name="T39" fmla="*/ 3238 h 4217"/>
              <a:gd name="T40" fmla="*/ 4493 w 6236"/>
              <a:gd name="T41" fmla="*/ 3092 h 4217"/>
              <a:gd name="T42" fmla="*/ 4671 w 6236"/>
              <a:gd name="T43" fmla="*/ 2937 h 4217"/>
              <a:gd name="T44" fmla="*/ 4843 w 6236"/>
              <a:gd name="T45" fmla="*/ 2772 h 4217"/>
              <a:gd name="T46" fmla="*/ 5005 w 6236"/>
              <a:gd name="T47" fmla="*/ 2602 h 4217"/>
              <a:gd name="T48" fmla="*/ 5160 w 6236"/>
              <a:gd name="T49" fmla="*/ 2423 h 4217"/>
              <a:gd name="T50" fmla="*/ 5308 w 6236"/>
              <a:gd name="T51" fmla="*/ 2235 h 4217"/>
              <a:gd name="T52" fmla="*/ 5446 w 6236"/>
              <a:gd name="T53" fmla="*/ 2042 h 4217"/>
              <a:gd name="T54" fmla="*/ 5573 w 6236"/>
              <a:gd name="T55" fmla="*/ 1842 h 4217"/>
              <a:gd name="T56" fmla="*/ 5692 w 6236"/>
              <a:gd name="T57" fmla="*/ 1636 h 4217"/>
              <a:gd name="T58" fmla="*/ 5801 w 6236"/>
              <a:gd name="T59" fmla="*/ 1422 h 4217"/>
              <a:gd name="T60" fmla="*/ 5900 w 6236"/>
              <a:gd name="T61" fmla="*/ 1205 h 4217"/>
              <a:gd name="T62" fmla="*/ 5989 w 6236"/>
              <a:gd name="T63" fmla="*/ 980 h 4217"/>
              <a:gd name="T64" fmla="*/ 6066 w 6236"/>
              <a:gd name="T65" fmla="*/ 751 h 4217"/>
              <a:gd name="T66" fmla="*/ 6132 w 6236"/>
              <a:gd name="T67" fmla="*/ 516 h 4217"/>
              <a:gd name="T68" fmla="*/ 6187 w 6236"/>
              <a:gd name="T69" fmla="*/ 278 h 4217"/>
              <a:gd name="T70" fmla="*/ 6231 w 6236"/>
              <a:gd name="T71" fmla="*/ 34 h 4217"/>
              <a:gd name="T72" fmla="*/ 0 w 6236"/>
              <a:gd name="T73" fmla="*/ 0 h 4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6236" h="4217">
                <a:moveTo>
                  <a:pt x="0" y="0"/>
                </a:moveTo>
                <a:lnTo>
                  <a:pt x="0" y="4030"/>
                </a:lnTo>
                <a:lnTo>
                  <a:pt x="4" y="4030"/>
                </a:lnTo>
                <a:lnTo>
                  <a:pt x="121" y="4062"/>
                </a:lnTo>
                <a:lnTo>
                  <a:pt x="240" y="4092"/>
                </a:lnTo>
                <a:lnTo>
                  <a:pt x="359" y="4117"/>
                </a:lnTo>
                <a:lnTo>
                  <a:pt x="480" y="4142"/>
                </a:lnTo>
                <a:lnTo>
                  <a:pt x="601" y="4160"/>
                </a:lnTo>
                <a:lnTo>
                  <a:pt x="726" y="4178"/>
                </a:lnTo>
                <a:lnTo>
                  <a:pt x="849" y="4193"/>
                </a:lnTo>
                <a:lnTo>
                  <a:pt x="974" y="4204"/>
                </a:lnTo>
                <a:lnTo>
                  <a:pt x="1101" y="4212"/>
                </a:lnTo>
                <a:lnTo>
                  <a:pt x="1227" y="4217"/>
                </a:lnTo>
                <a:lnTo>
                  <a:pt x="1354" y="4217"/>
                </a:lnTo>
                <a:lnTo>
                  <a:pt x="1481" y="4217"/>
                </a:lnTo>
                <a:lnTo>
                  <a:pt x="1607" y="4212"/>
                </a:lnTo>
                <a:lnTo>
                  <a:pt x="1734" y="4204"/>
                </a:lnTo>
                <a:lnTo>
                  <a:pt x="1859" y="4193"/>
                </a:lnTo>
                <a:lnTo>
                  <a:pt x="1982" y="4178"/>
                </a:lnTo>
                <a:lnTo>
                  <a:pt x="2105" y="4160"/>
                </a:lnTo>
                <a:lnTo>
                  <a:pt x="2227" y="4142"/>
                </a:lnTo>
                <a:lnTo>
                  <a:pt x="2349" y="4117"/>
                </a:lnTo>
                <a:lnTo>
                  <a:pt x="2468" y="4092"/>
                </a:lnTo>
                <a:lnTo>
                  <a:pt x="2587" y="4062"/>
                </a:lnTo>
                <a:lnTo>
                  <a:pt x="2704" y="4030"/>
                </a:lnTo>
                <a:lnTo>
                  <a:pt x="2821" y="3996"/>
                </a:lnTo>
                <a:lnTo>
                  <a:pt x="2937" y="3958"/>
                </a:lnTo>
                <a:lnTo>
                  <a:pt x="3050" y="3918"/>
                </a:lnTo>
                <a:lnTo>
                  <a:pt x="3163" y="3875"/>
                </a:lnTo>
                <a:lnTo>
                  <a:pt x="3275" y="3830"/>
                </a:lnTo>
                <a:lnTo>
                  <a:pt x="3385" y="3782"/>
                </a:lnTo>
                <a:lnTo>
                  <a:pt x="3493" y="3731"/>
                </a:lnTo>
                <a:lnTo>
                  <a:pt x="3600" y="3678"/>
                </a:lnTo>
                <a:lnTo>
                  <a:pt x="3706" y="3623"/>
                </a:lnTo>
                <a:lnTo>
                  <a:pt x="3810" y="3565"/>
                </a:lnTo>
                <a:lnTo>
                  <a:pt x="3912" y="3504"/>
                </a:lnTo>
                <a:lnTo>
                  <a:pt x="4013" y="3440"/>
                </a:lnTo>
                <a:lnTo>
                  <a:pt x="4113" y="3376"/>
                </a:lnTo>
                <a:lnTo>
                  <a:pt x="4209" y="3308"/>
                </a:lnTo>
                <a:lnTo>
                  <a:pt x="4306" y="3238"/>
                </a:lnTo>
                <a:lnTo>
                  <a:pt x="4400" y="3166"/>
                </a:lnTo>
                <a:lnTo>
                  <a:pt x="4493" y="3092"/>
                </a:lnTo>
                <a:lnTo>
                  <a:pt x="4582" y="3014"/>
                </a:lnTo>
                <a:lnTo>
                  <a:pt x="4671" y="2937"/>
                </a:lnTo>
                <a:lnTo>
                  <a:pt x="4758" y="2856"/>
                </a:lnTo>
                <a:lnTo>
                  <a:pt x="4843" y="2772"/>
                </a:lnTo>
                <a:lnTo>
                  <a:pt x="4926" y="2687"/>
                </a:lnTo>
                <a:lnTo>
                  <a:pt x="5005" y="2602"/>
                </a:lnTo>
                <a:lnTo>
                  <a:pt x="5085" y="2513"/>
                </a:lnTo>
                <a:lnTo>
                  <a:pt x="5160" y="2423"/>
                </a:lnTo>
                <a:lnTo>
                  <a:pt x="5236" y="2330"/>
                </a:lnTo>
                <a:lnTo>
                  <a:pt x="5308" y="2235"/>
                </a:lnTo>
                <a:lnTo>
                  <a:pt x="5378" y="2141"/>
                </a:lnTo>
                <a:lnTo>
                  <a:pt x="5446" y="2042"/>
                </a:lnTo>
                <a:lnTo>
                  <a:pt x="5510" y="1944"/>
                </a:lnTo>
                <a:lnTo>
                  <a:pt x="5573" y="1842"/>
                </a:lnTo>
                <a:lnTo>
                  <a:pt x="5635" y="1740"/>
                </a:lnTo>
                <a:lnTo>
                  <a:pt x="5692" y="1636"/>
                </a:lnTo>
                <a:lnTo>
                  <a:pt x="5748" y="1530"/>
                </a:lnTo>
                <a:lnTo>
                  <a:pt x="5801" y="1422"/>
                </a:lnTo>
                <a:lnTo>
                  <a:pt x="5852" y="1314"/>
                </a:lnTo>
                <a:lnTo>
                  <a:pt x="5900" y="1205"/>
                </a:lnTo>
                <a:lnTo>
                  <a:pt x="5945" y="1093"/>
                </a:lnTo>
                <a:lnTo>
                  <a:pt x="5989" y="980"/>
                </a:lnTo>
                <a:lnTo>
                  <a:pt x="6028" y="866"/>
                </a:lnTo>
                <a:lnTo>
                  <a:pt x="6066" y="751"/>
                </a:lnTo>
                <a:lnTo>
                  <a:pt x="6100" y="634"/>
                </a:lnTo>
                <a:lnTo>
                  <a:pt x="6132" y="516"/>
                </a:lnTo>
                <a:lnTo>
                  <a:pt x="6161" y="397"/>
                </a:lnTo>
                <a:lnTo>
                  <a:pt x="6187" y="278"/>
                </a:lnTo>
                <a:lnTo>
                  <a:pt x="6210" y="157"/>
                </a:lnTo>
                <a:lnTo>
                  <a:pt x="6231" y="34"/>
                </a:lnTo>
                <a:lnTo>
                  <a:pt x="623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7177" y="635445"/>
            <a:ext cx="5973319" cy="2363787"/>
          </a:xfrm>
        </p:spPr>
        <p:txBody>
          <a:bodyPr/>
          <a:lstStyle>
            <a:lvl1pPr>
              <a:defRPr sz="4200" b="1"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17176" y="3538728"/>
            <a:ext cx="5230368" cy="704088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23" name="Овал 10"/>
          <p:cNvSpPr/>
          <p:nvPr userDrawn="1"/>
        </p:nvSpPr>
        <p:spPr>
          <a:xfrm>
            <a:off x="7759999" y="682058"/>
            <a:ext cx="1620000" cy="16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0" rIns="107287" bIns="53643" rtlCol="0" anchor="ctr"/>
          <a:lstStyle/>
          <a:p>
            <a:pPr algn="ctr"/>
            <a:endParaRPr lang="ru-RU" sz="9400" b="0" dirty="0"/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7770438" y="682058"/>
            <a:ext cx="1608674" cy="1728636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9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1</a:t>
            </a:r>
            <a:endParaRPr lang="en-US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7288351" y="6264654"/>
            <a:ext cx="2012642" cy="267413"/>
            <a:chOff x="934710" y="2708155"/>
            <a:chExt cx="10308163" cy="1369608"/>
          </a:xfrm>
          <a:solidFill>
            <a:srgbClr val="FFFFFF"/>
          </a:solidFill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93958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6698" y="779721"/>
            <a:ext cx="9232604" cy="5428512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958104" y="6507687"/>
            <a:ext cx="914400" cy="914400"/>
          </a:xfrm>
          <a:prstGeom prst="rect">
            <a:avLst/>
          </a:prstGeom>
        </p:spPr>
        <p:txBody>
          <a:bodyPr vert="horz" wrap="none" lIns="107287" tIns="53643" rIns="107287" bIns="53643" rtlCol="0">
            <a:normAutofit/>
          </a:bodyPr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en-US" sz="1400" dirty="0" smtClean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C0C2C4"/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8833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698" y="779721"/>
            <a:ext cx="4533752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779722"/>
            <a:ext cx="4533752" cy="540488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138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6698" y="779721"/>
            <a:ext cx="2988000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1"/>
          </p:nvPr>
        </p:nvSpPr>
        <p:spPr>
          <a:xfrm>
            <a:off x="3461194" y="779720"/>
            <a:ext cx="2988000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/>
          </p:nvPr>
        </p:nvSpPr>
        <p:spPr>
          <a:xfrm>
            <a:off x="6586577" y="779719"/>
            <a:ext cx="2988000" cy="5404883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789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6699" y="783773"/>
            <a:ext cx="4504722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36699" y="1455787"/>
            <a:ext cx="4504721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83664" y="783773"/>
            <a:ext cx="4585638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983664" y="1455787"/>
            <a:ext cx="4585638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955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6699" y="783773"/>
            <a:ext cx="4504722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36699" y="1455787"/>
            <a:ext cx="4504721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983664" y="783773"/>
            <a:ext cx="4585638" cy="709224"/>
          </a:xfrm>
        </p:spPr>
        <p:txBody>
          <a:bodyPr anchor="b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983664" y="1455787"/>
            <a:ext cx="4585638" cy="47490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cxnSp>
        <p:nvCxnSpPr>
          <p:cNvPr id="9" name="Straight Arrow Connector 8"/>
          <p:cNvCxnSpPr/>
          <p:nvPr userDrawn="1"/>
        </p:nvCxnSpPr>
        <p:spPr>
          <a:xfrm>
            <a:off x="336698" y="1473508"/>
            <a:ext cx="4504722" cy="0"/>
          </a:xfrm>
          <a:prstGeom prst="straightConnector1">
            <a:avLst/>
          </a:prstGeom>
          <a:ln w="12700" cmpd="sng">
            <a:solidFill>
              <a:schemeClr val="accent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 userDrawn="1"/>
        </p:nvCxnSpPr>
        <p:spPr>
          <a:xfrm>
            <a:off x="4983664" y="1473508"/>
            <a:ext cx="4585638" cy="0"/>
          </a:xfrm>
          <a:prstGeom prst="straightConnector1">
            <a:avLst/>
          </a:prstGeom>
          <a:ln w="12700" cmpd="sng">
            <a:solidFill>
              <a:schemeClr val="accent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1674" y="6350000"/>
            <a:ext cx="7334215" cy="33669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800">
                <a:solidFill>
                  <a:srgbClr val="A6A6A6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0137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 userDrawn="1">
            <p:ph type="title"/>
          </p:nvPr>
        </p:nvSpPr>
        <p:spPr>
          <a:xfrm>
            <a:off x="336698" y="0"/>
            <a:ext cx="8663597" cy="6793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</a:t>
            </a:r>
            <a:r>
              <a:rPr lang="en-US" dirty="0" smtClean="0"/>
              <a:t> </a:t>
            </a: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 userDrawn="1">
            <p:ph type="body" idx="1"/>
          </p:nvPr>
        </p:nvSpPr>
        <p:spPr>
          <a:xfrm>
            <a:off x="336698" y="779721"/>
            <a:ext cx="9232604" cy="5386129"/>
          </a:xfrm>
          <a:prstGeom prst="rect">
            <a:avLst/>
          </a:prstGeom>
        </p:spPr>
        <p:txBody>
          <a:bodyPr vert="horz" lIns="0" tIns="53643" rIns="107287" bIns="53643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AutoShape 5"/>
          <p:cNvSpPr>
            <a:spLocks noChangeAspect="1" noChangeArrowheads="1" noTextEdit="1"/>
          </p:cNvSpPr>
          <p:nvPr userDrawn="1"/>
        </p:nvSpPr>
        <p:spPr bwMode="auto">
          <a:xfrm>
            <a:off x="-1380993" y="5645151"/>
            <a:ext cx="2964922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7287" tIns="53643" rIns="107287" bIns="5364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0" y="737932"/>
            <a:ext cx="9906000" cy="0"/>
          </a:xfrm>
          <a:prstGeom prst="line">
            <a:avLst/>
          </a:prstGeom>
          <a:ln w="9525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-82698" y="6396271"/>
            <a:ext cx="391209" cy="229956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sz="1400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9154939" y="212209"/>
            <a:ext cx="432085" cy="433584"/>
            <a:chOff x="5176838" y="2511426"/>
            <a:chExt cx="1830388" cy="1836737"/>
          </a:xfrm>
          <a:solidFill>
            <a:srgbClr val="00985F"/>
          </a:solidFill>
        </p:grpSpPr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5" name="Group 34"/>
          <p:cNvGrpSpPr>
            <a:grpSpLocks noChangeAspect="1"/>
          </p:cNvGrpSpPr>
          <p:nvPr userDrawn="1"/>
        </p:nvGrpSpPr>
        <p:grpSpPr>
          <a:xfrm>
            <a:off x="8006697" y="6394890"/>
            <a:ext cx="1583997" cy="210458"/>
            <a:chOff x="934710" y="2708155"/>
            <a:chExt cx="10308163" cy="1369608"/>
          </a:xfrm>
          <a:solidFill>
            <a:srgbClr val="00985F"/>
          </a:solidFill>
        </p:grpSpPr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10046261" y="2909992"/>
              <a:ext cx="1196612" cy="1153354"/>
            </a:xfrm>
            <a:custGeom>
              <a:avLst/>
              <a:gdLst>
                <a:gd name="T0" fmla="*/ 309 w 412"/>
                <a:gd name="T1" fmla="*/ 0 h 400"/>
                <a:gd name="T2" fmla="*/ 309 w 412"/>
                <a:gd name="T3" fmla="*/ 151 h 400"/>
                <a:gd name="T4" fmla="*/ 103 w 412"/>
                <a:gd name="T5" fmla="*/ 151 h 400"/>
                <a:gd name="T6" fmla="*/ 103 w 412"/>
                <a:gd name="T7" fmla="*/ 0 h 400"/>
                <a:gd name="T8" fmla="*/ 0 w 412"/>
                <a:gd name="T9" fmla="*/ 0 h 400"/>
                <a:gd name="T10" fmla="*/ 0 w 412"/>
                <a:gd name="T11" fmla="*/ 400 h 400"/>
                <a:gd name="T12" fmla="*/ 103 w 412"/>
                <a:gd name="T13" fmla="*/ 400 h 400"/>
                <a:gd name="T14" fmla="*/ 103 w 412"/>
                <a:gd name="T15" fmla="*/ 238 h 400"/>
                <a:gd name="T16" fmla="*/ 309 w 412"/>
                <a:gd name="T17" fmla="*/ 238 h 400"/>
                <a:gd name="T18" fmla="*/ 309 w 412"/>
                <a:gd name="T19" fmla="*/ 400 h 400"/>
                <a:gd name="T20" fmla="*/ 412 w 412"/>
                <a:gd name="T21" fmla="*/ 400 h 400"/>
                <a:gd name="T22" fmla="*/ 412 w 412"/>
                <a:gd name="T23" fmla="*/ 0 h 400"/>
                <a:gd name="T24" fmla="*/ 309 w 412"/>
                <a:gd name="T25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2" h="400">
                  <a:moveTo>
                    <a:pt x="309" y="0"/>
                  </a:moveTo>
                  <a:lnTo>
                    <a:pt x="309" y="151"/>
                  </a:lnTo>
                  <a:lnTo>
                    <a:pt x="103" y="151"/>
                  </a:lnTo>
                  <a:lnTo>
                    <a:pt x="103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03" y="400"/>
                  </a:lnTo>
                  <a:lnTo>
                    <a:pt x="103" y="238"/>
                  </a:lnTo>
                  <a:lnTo>
                    <a:pt x="309" y="238"/>
                  </a:lnTo>
                  <a:lnTo>
                    <a:pt x="309" y="400"/>
                  </a:lnTo>
                  <a:lnTo>
                    <a:pt x="412" y="400"/>
                  </a:lnTo>
                  <a:lnTo>
                    <a:pt x="412" y="0"/>
                  </a:lnTo>
                  <a:lnTo>
                    <a:pt x="3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7"/>
            <p:cNvSpPr>
              <a:spLocks noEditPoints="1"/>
            </p:cNvSpPr>
            <p:nvPr/>
          </p:nvSpPr>
          <p:spPr bwMode="auto">
            <a:xfrm>
              <a:off x="5086809" y="2895575"/>
              <a:ext cx="1441701" cy="1167771"/>
            </a:xfrm>
            <a:custGeom>
              <a:avLst/>
              <a:gdLst>
                <a:gd name="T0" fmla="*/ 112 w 500"/>
                <a:gd name="T1" fmla="*/ 398 h 409"/>
                <a:gd name="T2" fmla="*/ 121 w 500"/>
                <a:gd name="T3" fmla="*/ 377 h 409"/>
                <a:gd name="T4" fmla="*/ 131 w 500"/>
                <a:gd name="T5" fmla="*/ 356 h 409"/>
                <a:gd name="T6" fmla="*/ 139 w 500"/>
                <a:gd name="T7" fmla="*/ 335 h 409"/>
                <a:gd name="T8" fmla="*/ 355 w 500"/>
                <a:gd name="T9" fmla="*/ 324 h 409"/>
                <a:gd name="T10" fmla="*/ 364 w 500"/>
                <a:gd name="T11" fmla="*/ 346 h 409"/>
                <a:gd name="T12" fmla="*/ 374 w 500"/>
                <a:gd name="T13" fmla="*/ 367 h 409"/>
                <a:gd name="T14" fmla="*/ 383 w 500"/>
                <a:gd name="T15" fmla="*/ 387 h 409"/>
                <a:gd name="T16" fmla="*/ 391 w 500"/>
                <a:gd name="T17" fmla="*/ 409 h 409"/>
                <a:gd name="T18" fmla="*/ 480 w 500"/>
                <a:gd name="T19" fmla="*/ 365 h 409"/>
                <a:gd name="T20" fmla="*/ 437 w 500"/>
                <a:gd name="T21" fmla="*/ 276 h 409"/>
                <a:gd name="T22" fmla="*/ 396 w 500"/>
                <a:gd name="T23" fmla="*/ 186 h 409"/>
                <a:gd name="T24" fmla="*/ 354 w 500"/>
                <a:gd name="T25" fmla="*/ 98 h 409"/>
                <a:gd name="T26" fmla="*/ 330 w 500"/>
                <a:gd name="T27" fmla="*/ 48 h 409"/>
                <a:gd name="T28" fmla="*/ 323 w 500"/>
                <a:gd name="T29" fmla="*/ 35 h 409"/>
                <a:gd name="T30" fmla="*/ 313 w 500"/>
                <a:gd name="T31" fmla="*/ 25 h 409"/>
                <a:gd name="T32" fmla="*/ 303 w 500"/>
                <a:gd name="T33" fmla="*/ 17 h 409"/>
                <a:gd name="T34" fmla="*/ 292 w 500"/>
                <a:gd name="T35" fmla="*/ 10 h 409"/>
                <a:gd name="T36" fmla="*/ 280 w 500"/>
                <a:gd name="T37" fmla="*/ 5 h 409"/>
                <a:gd name="T38" fmla="*/ 262 w 500"/>
                <a:gd name="T39" fmla="*/ 1 h 409"/>
                <a:gd name="T40" fmla="*/ 250 w 500"/>
                <a:gd name="T41" fmla="*/ 0 h 409"/>
                <a:gd name="T42" fmla="*/ 226 w 500"/>
                <a:gd name="T43" fmla="*/ 3 h 409"/>
                <a:gd name="T44" fmla="*/ 214 w 500"/>
                <a:gd name="T45" fmla="*/ 7 h 409"/>
                <a:gd name="T46" fmla="*/ 202 w 500"/>
                <a:gd name="T47" fmla="*/ 13 h 409"/>
                <a:gd name="T48" fmla="*/ 192 w 500"/>
                <a:gd name="T49" fmla="*/ 21 h 409"/>
                <a:gd name="T50" fmla="*/ 182 w 500"/>
                <a:gd name="T51" fmla="*/ 31 h 409"/>
                <a:gd name="T52" fmla="*/ 173 w 500"/>
                <a:gd name="T53" fmla="*/ 41 h 409"/>
                <a:gd name="T54" fmla="*/ 166 w 500"/>
                <a:gd name="T55" fmla="*/ 54 h 409"/>
                <a:gd name="T56" fmla="*/ 124 w 500"/>
                <a:gd name="T57" fmla="*/ 143 h 409"/>
                <a:gd name="T58" fmla="*/ 83 w 500"/>
                <a:gd name="T59" fmla="*/ 231 h 409"/>
                <a:gd name="T60" fmla="*/ 41 w 500"/>
                <a:gd name="T61" fmla="*/ 320 h 409"/>
                <a:gd name="T62" fmla="*/ 0 w 500"/>
                <a:gd name="T63" fmla="*/ 409 h 409"/>
                <a:gd name="T64" fmla="*/ 179 w 500"/>
                <a:gd name="T65" fmla="*/ 245 h 409"/>
                <a:gd name="T66" fmla="*/ 194 w 500"/>
                <a:gd name="T67" fmla="*/ 208 h 409"/>
                <a:gd name="T68" fmla="*/ 210 w 500"/>
                <a:gd name="T69" fmla="*/ 172 h 409"/>
                <a:gd name="T70" fmla="*/ 226 w 500"/>
                <a:gd name="T71" fmla="*/ 136 h 409"/>
                <a:gd name="T72" fmla="*/ 242 w 500"/>
                <a:gd name="T73" fmla="*/ 99 h 409"/>
                <a:gd name="T74" fmla="*/ 243 w 500"/>
                <a:gd name="T75" fmla="*/ 97 h 409"/>
                <a:gd name="T76" fmla="*/ 245 w 500"/>
                <a:gd name="T77" fmla="*/ 95 h 409"/>
                <a:gd name="T78" fmla="*/ 247 w 500"/>
                <a:gd name="T79" fmla="*/ 94 h 409"/>
                <a:gd name="T80" fmla="*/ 250 w 500"/>
                <a:gd name="T81" fmla="*/ 94 h 409"/>
                <a:gd name="T82" fmla="*/ 251 w 500"/>
                <a:gd name="T83" fmla="*/ 94 h 409"/>
                <a:gd name="T84" fmla="*/ 253 w 500"/>
                <a:gd name="T85" fmla="*/ 94 h 409"/>
                <a:gd name="T86" fmla="*/ 255 w 500"/>
                <a:gd name="T87" fmla="*/ 96 h 409"/>
                <a:gd name="T88" fmla="*/ 257 w 500"/>
                <a:gd name="T89" fmla="*/ 98 h 409"/>
                <a:gd name="T90" fmla="*/ 266 w 500"/>
                <a:gd name="T91" fmla="*/ 117 h 409"/>
                <a:gd name="T92" fmla="*/ 281 w 500"/>
                <a:gd name="T93" fmla="*/ 154 h 409"/>
                <a:gd name="T94" fmla="*/ 298 w 500"/>
                <a:gd name="T95" fmla="*/ 190 h 409"/>
                <a:gd name="T96" fmla="*/ 313 w 500"/>
                <a:gd name="T97" fmla="*/ 227 h 409"/>
                <a:gd name="T98" fmla="*/ 179 w 500"/>
                <a:gd name="T99" fmla="*/ 24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0" h="409">
                  <a:moveTo>
                    <a:pt x="108" y="409"/>
                  </a:moveTo>
                  <a:lnTo>
                    <a:pt x="112" y="398"/>
                  </a:lnTo>
                  <a:lnTo>
                    <a:pt x="116" y="387"/>
                  </a:lnTo>
                  <a:lnTo>
                    <a:pt x="121" y="377"/>
                  </a:lnTo>
                  <a:lnTo>
                    <a:pt x="126" y="367"/>
                  </a:lnTo>
                  <a:lnTo>
                    <a:pt x="131" y="356"/>
                  </a:lnTo>
                  <a:lnTo>
                    <a:pt x="135" y="346"/>
                  </a:lnTo>
                  <a:lnTo>
                    <a:pt x="139" y="335"/>
                  </a:lnTo>
                  <a:lnTo>
                    <a:pt x="144" y="324"/>
                  </a:lnTo>
                  <a:lnTo>
                    <a:pt x="355" y="324"/>
                  </a:lnTo>
                  <a:lnTo>
                    <a:pt x="360" y="335"/>
                  </a:lnTo>
                  <a:lnTo>
                    <a:pt x="364" y="346"/>
                  </a:lnTo>
                  <a:lnTo>
                    <a:pt x="368" y="356"/>
                  </a:lnTo>
                  <a:lnTo>
                    <a:pt x="374" y="367"/>
                  </a:lnTo>
                  <a:lnTo>
                    <a:pt x="378" y="377"/>
                  </a:lnTo>
                  <a:lnTo>
                    <a:pt x="383" y="387"/>
                  </a:lnTo>
                  <a:lnTo>
                    <a:pt x="387" y="398"/>
                  </a:lnTo>
                  <a:lnTo>
                    <a:pt x="391" y="409"/>
                  </a:lnTo>
                  <a:lnTo>
                    <a:pt x="500" y="409"/>
                  </a:lnTo>
                  <a:lnTo>
                    <a:pt x="480" y="365"/>
                  </a:lnTo>
                  <a:lnTo>
                    <a:pt x="458" y="320"/>
                  </a:lnTo>
                  <a:lnTo>
                    <a:pt x="437" y="276"/>
                  </a:lnTo>
                  <a:lnTo>
                    <a:pt x="416" y="231"/>
                  </a:lnTo>
                  <a:lnTo>
                    <a:pt x="396" y="186"/>
                  </a:lnTo>
                  <a:lnTo>
                    <a:pt x="375" y="143"/>
                  </a:lnTo>
                  <a:lnTo>
                    <a:pt x="354" y="98"/>
                  </a:lnTo>
                  <a:lnTo>
                    <a:pt x="334" y="54"/>
                  </a:lnTo>
                  <a:lnTo>
                    <a:pt x="330" y="48"/>
                  </a:lnTo>
                  <a:lnTo>
                    <a:pt x="326" y="41"/>
                  </a:lnTo>
                  <a:lnTo>
                    <a:pt x="323" y="35"/>
                  </a:lnTo>
                  <a:lnTo>
                    <a:pt x="318" y="31"/>
                  </a:lnTo>
                  <a:lnTo>
                    <a:pt x="313" y="25"/>
                  </a:lnTo>
                  <a:lnTo>
                    <a:pt x="308" y="21"/>
                  </a:lnTo>
                  <a:lnTo>
                    <a:pt x="303" y="17"/>
                  </a:lnTo>
                  <a:lnTo>
                    <a:pt x="298" y="13"/>
                  </a:lnTo>
                  <a:lnTo>
                    <a:pt x="292" y="10"/>
                  </a:lnTo>
                  <a:lnTo>
                    <a:pt x="286" y="7"/>
                  </a:lnTo>
                  <a:lnTo>
                    <a:pt x="280" y="5"/>
                  </a:lnTo>
                  <a:lnTo>
                    <a:pt x="275" y="3"/>
                  </a:lnTo>
                  <a:lnTo>
                    <a:pt x="262" y="1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38" y="1"/>
                  </a:lnTo>
                  <a:lnTo>
                    <a:pt x="226" y="3"/>
                  </a:lnTo>
                  <a:lnTo>
                    <a:pt x="219" y="5"/>
                  </a:lnTo>
                  <a:lnTo>
                    <a:pt x="214" y="7"/>
                  </a:lnTo>
                  <a:lnTo>
                    <a:pt x="207" y="10"/>
                  </a:lnTo>
                  <a:lnTo>
                    <a:pt x="202" y="13"/>
                  </a:lnTo>
                  <a:lnTo>
                    <a:pt x="196" y="17"/>
                  </a:lnTo>
                  <a:lnTo>
                    <a:pt x="192" y="21"/>
                  </a:lnTo>
                  <a:lnTo>
                    <a:pt x="186" y="25"/>
                  </a:lnTo>
                  <a:lnTo>
                    <a:pt x="182" y="31"/>
                  </a:lnTo>
                  <a:lnTo>
                    <a:pt x="178" y="35"/>
                  </a:lnTo>
                  <a:lnTo>
                    <a:pt x="173" y="41"/>
                  </a:lnTo>
                  <a:lnTo>
                    <a:pt x="169" y="48"/>
                  </a:lnTo>
                  <a:lnTo>
                    <a:pt x="166" y="54"/>
                  </a:lnTo>
                  <a:lnTo>
                    <a:pt x="145" y="98"/>
                  </a:lnTo>
                  <a:lnTo>
                    <a:pt x="124" y="143"/>
                  </a:lnTo>
                  <a:lnTo>
                    <a:pt x="103" y="186"/>
                  </a:lnTo>
                  <a:lnTo>
                    <a:pt x="83" y="231"/>
                  </a:lnTo>
                  <a:lnTo>
                    <a:pt x="62" y="276"/>
                  </a:lnTo>
                  <a:lnTo>
                    <a:pt x="41" y="320"/>
                  </a:lnTo>
                  <a:lnTo>
                    <a:pt x="20" y="365"/>
                  </a:lnTo>
                  <a:lnTo>
                    <a:pt x="0" y="409"/>
                  </a:lnTo>
                  <a:lnTo>
                    <a:pt x="108" y="409"/>
                  </a:lnTo>
                  <a:close/>
                  <a:moveTo>
                    <a:pt x="179" y="245"/>
                  </a:moveTo>
                  <a:lnTo>
                    <a:pt x="186" y="227"/>
                  </a:lnTo>
                  <a:lnTo>
                    <a:pt x="194" y="208"/>
                  </a:lnTo>
                  <a:lnTo>
                    <a:pt x="203" y="190"/>
                  </a:lnTo>
                  <a:lnTo>
                    <a:pt x="210" y="172"/>
                  </a:lnTo>
                  <a:lnTo>
                    <a:pt x="218" y="154"/>
                  </a:lnTo>
                  <a:lnTo>
                    <a:pt x="226" y="136"/>
                  </a:lnTo>
                  <a:lnTo>
                    <a:pt x="233" y="117"/>
                  </a:lnTo>
                  <a:lnTo>
                    <a:pt x="242" y="99"/>
                  </a:lnTo>
                  <a:lnTo>
                    <a:pt x="242" y="98"/>
                  </a:lnTo>
                  <a:lnTo>
                    <a:pt x="243" y="97"/>
                  </a:lnTo>
                  <a:lnTo>
                    <a:pt x="244" y="96"/>
                  </a:lnTo>
                  <a:lnTo>
                    <a:pt x="245" y="95"/>
                  </a:lnTo>
                  <a:lnTo>
                    <a:pt x="246" y="94"/>
                  </a:lnTo>
                  <a:lnTo>
                    <a:pt x="247" y="94"/>
                  </a:lnTo>
                  <a:lnTo>
                    <a:pt x="248" y="94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51" y="94"/>
                  </a:lnTo>
                  <a:lnTo>
                    <a:pt x="252" y="94"/>
                  </a:lnTo>
                  <a:lnTo>
                    <a:pt x="253" y="94"/>
                  </a:lnTo>
                  <a:lnTo>
                    <a:pt x="254" y="95"/>
                  </a:lnTo>
                  <a:lnTo>
                    <a:pt x="255" y="96"/>
                  </a:lnTo>
                  <a:lnTo>
                    <a:pt x="256" y="97"/>
                  </a:lnTo>
                  <a:lnTo>
                    <a:pt x="257" y="98"/>
                  </a:lnTo>
                  <a:lnTo>
                    <a:pt x="258" y="99"/>
                  </a:lnTo>
                  <a:lnTo>
                    <a:pt x="266" y="117"/>
                  </a:lnTo>
                  <a:lnTo>
                    <a:pt x="274" y="136"/>
                  </a:lnTo>
                  <a:lnTo>
                    <a:pt x="281" y="154"/>
                  </a:lnTo>
                  <a:lnTo>
                    <a:pt x="290" y="172"/>
                  </a:lnTo>
                  <a:lnTo>
                    <a:pt x="298" y="190"/>
                  </a:lnTo>
                  <a:lnTo>
                    <a:pt x="305" y="208"/>
                  </a:lnTo>
                  <a:lnTo>
                    <a:pt x="313" y="227"/>
                  </a:lnTo>
                  <a:lnTo>
                    <a:pt x="320" y="245"/>
                  </a:lnTo>
                  <a:lnTo>
                    <a:pt x="179" y="2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934710" y="2708155"/>
              <a:ext cx="1874211" cy="1369608"/>
            </a:xfrm>
            <a:custGeom>
              <a:avLst/>
              <a:gdLst>
                <a:gd name="T0" fmla="*/ 541 w 649"/>
                <a:gd name="T1" fmla="*/ 1 h 476"/>
                <a:gd name="T2" fmla="*/ 518 w 649"/>
                <a:gd name="T3" fmla="*/ 7 h 476"/>
                <a:gd name="T4" fmla="*/ 498 w 649"/>
                <a:gd name="T5" fmla="*/ 19 h 476"/>
                <a:gd name="T6" fmla="*/ 481 w 649"/>
                <a:gd name="T7" fmla="*/ 36 h 476"/>
                <a:gd name="T8" fmla="*/ 467 w 649"/>
                <a:gd name="T9" fmla="*/ 57 h 476"/>
                <a:gd name="T10" fmla="*/ 424 w 649"/>
                <a:gd name="T11" fmla="*/ 150 h 476"/>
                <a:gd name="T12" fmla="*/ 374 w 649"/>
                <a:gd name="T13" fmla="*/ 263 h 476"/>
                <a:gd name="T14" fmla="*/ 325 w 649"/>
                <a:gd name="T15" fmla="*/ 375 h 476"/>
                <a:gd name="T16" fmla="*/ 275 w 649"/>
                <a:gd name="T17" fmla="*/ 263 h 476"/>
                <a:gd name="T18" fmla="*/ 225 w 649"/>
                <a:gd name="T19" fmla="*/ 150 h 476"/>
                <a:gd name="T20" fmla="*/ 183 w 649"/>
                <a:gd name="T21" fmla="*/ 57 h 476"/>
                <a:gd name="T22" fmla="*/ 168 w 649"/>
                <a:gd name="T23" fmla="*/ 36 h 476"/>
                <a:gd name="T24" fmla="*/ 150 w 649"/>
                <a:gd name="T25" fmla="*/ 19 h 476"/>
                <a:gd name="T26" fmla="*/ 131 w 649"/>
                <a:gd name="T27" fmla="*/ 7 h 476"/>
                <a:gd name="T28" fmla="*/ 108 w 649"/>
                <a:gd name="T29" fmla="*/ 1 h 476"/>
                <a:gd name="T30" fmla="*/ 83 w 649"/>
                <a:gd name="T31" fmla="*/ 0 h 476"/>
                <a:gd name="T32" fmla="*/ 58 w 649"/>
                <a:gd name="T33" fmla="*/ 6 h 476"/>
                <a:gd name="T34" fmla="*/ 35 w 649"/>
                <a:gd name="T35" fmla="*/ 19 h 476"/>
                <a:gd name="T36" fmla="*/ 17 w 649"/>
                <a:gd name="T37" fmla="*/ 38 h 476"/>
                <a:gd name="T38" fmla="*/ 0 w 649"/>
                <a:gd name="T39" fmla="*/ 100 h 476"/>
                <a:gd name="T40" fmla="*/ 101 w 649"/>
                <a:gd name="T41" fmla="*/ 110 h 476"/>
                <a:gd name="T42" fmla="*/ 152 w 649"/>
                <a:gd name="T43" fmla="*/ 221 h 476"/>
                <a:gd name="T44" fmla="*/ 202 w 649"/>
                <a:gd name="T45" fmla="*/ 334 h 476"/>
                <a:gd name="T46" fmla="*/ 239 w 649"/>
                <a:gd name="T47" fmla="*/ 415 h 476"/>
                <a:gd name="T48" fmla="*/ 251 w 649"/>
                <a:gd name="T49" fmla="*/ 436 h 476"/>
                <a:gd name="T50" fmla="*/ 266 w 649"/>
                <a:gd name="T51" fmla="*/ 453 h 476"/>
                <a:gd name="T52" fmla="*/ 282 w 649"/>
                <a:gd name="T53" fmla="*/ 465 h 476"/>
                <a:gd name="T54" fmla="*/ 302 w 649"/>
                <a:gd name="T55" fmla="*/ 473 h 476"/>
                <a:gd name="T56" fmla="*/ 325 w 649"/>
                <a:gd name="T57" fmla="*/ 476 h 476"/>
                <a:gd name="T58" fmla="*/ 340 w 649"/>
                <a:gd name="T59" fmla="*/ 475 h 476"/>
                <a:gd name="T60" fmla="*/ 360 w 649"/>
                <a:gd name="T61" fmla="*/ 469 h 476"/>
                <a:gd name="T62" fmla="*/ 378 w 649"/>
                <a:gd name="T63" fmla="*/ 458 h 476"/>
                <a:gd name="T64" fmla="*/ 394 w 649"/>
                <a:gd name="T65" fmla="*/ 442 h 476"/>
                <a:gd name="T66" fmla="*/ 406 w 649"/>
                <a:gd name="T67" fmla="*/ 423 h 476"/>
                <a:gd name="T68" fmla="*/ 430 w 649"/>
                <a:gd name="T69" fmla="*/ 371 h 476"/>
                <a:gd name="T70" fmla="*/ 480 w 649"/>
                <a:gd name="T71" fmla="*/ 259 h 476"/>
                <a:gd name="T72" fmla="*/ 530 w 649"/>
                <a:gd name="T73" fmla="*/ 147 h 476"/>
                <a:gd name="T74" fmla="*/ 649 w 649"/>
                <a:gd name="T75" fmla="*/ 472 h 476"/>
                <a:gd name="T76" fmla="*/ 641 w 649"/>
                <a:gd name="T77" fmla="*/ 55 h 476"/>
                <a:gd name="T78" fmla="*/ 621 w 649"/>
                <a:gd name="T79" fmla="*/ 24 h 476"/>
                <a:gd name="T80" fmla="*/ 599 w 649"/>
                <a:gd name="T81" fmla="*/ 9 h 476"/>
                <a:gd name="T82" fmla="*/ 575 w 649"/>
                <a:gd name="T83" fmla="*/ 1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9" h="476">
                  <a:moveTo>
                    <a:pt x="558" y="0"/>
                  </a:moveTo>
                  <a:lnTo>
                    <a:pt x="550" y="0"/>
                  </a:lnTo>
                  <a:lnTo>
                    <a:pt x="541" y="1"/>
                  </a:lnTo>
                  <a:lnTo>
                    <a:pt x="533" y="3"/>
                  </a:lnTo>
                  <a:lnTo>
                    <a:pt x="526" y="5"/>
                  </a:lnTo>
                  <a:lnTo>
                    <a:pt x="518" y="7"/>
                  </a:lnTo>
                  <a:lnTo>
                    <a:pt x="512" y="10"/>
                  </a:lnTo>
                  <a:lnTo>
                    <a:pt x="505" y="14"/>
                  </a:lnTo>
                  <a:lnTo>
                    <a:pt x="498" y="19"/>
                  </a:lnTo>
                  <a:lnTo>
                    <a:pt x="492" y="24"/>
                  </a:lnTo>
                  <a:lnTo>
                    <a:pt x="486" y="29"/>
                  </a:lnTo>
                  <a:lnTo>
                    <a:pt x="481" y="36"/>
                  </a:lnTo>
                  <a:lnTo>
                    <a:pt x="476" y="42"/>
                  </a:lnTo>
                  <a:lnTo>
                    <a:pt x="471" y="50"/>
                  </a:lnTo>
                  <a:lnTo>
                    <a:pt x="467" y="57"/>
                  </a:lnTo>
                  <a:lnTo>
                    <a:pt x="457" y="75"/>
                  </a:lnTo>
                  <a:lnTo>
                    <a:pt x="441" y="113"/>
                  </a:lnTo>
                  <a:lnTo>
                    <a:pt x="424" y="150"/>
                  </a:lnTo>
                  <a:lnTo>
                    <a:pt x="408" y="188"/>
                  </a:lnTo>
                  <a:lnTo>
                    <a:pt x="392" y="225"/>
                  </a:lnTo>
                  <a:lnTo>
                    <a:pt x="374" y="263"/>
                  </a:lnTo>
                  <a:lnTo>
                    <a:pt x="358" y="300"/>
                  </a:lnTo>
                  <a:lnTo>
                    <a:pt x="341" y="338"/>
                  </a:lnTo>
                  <a:lnTo>
                    <a:pt x="325" y="375"/>
                  </a:lnTo>
                  <a:lnTo>
                    <a:pt x="308" y="338"/>
                  </a:lnTo>
                  <a:lnTo>
                    <a:pt x="291" y="300"/>
                  </a:lnTo>
                  <a:lnTo>
                    <a:pt x="275" y="263"/>
                  </a:lnTo>
                  <a:lnTo>
                    <a:pt x="258" y="225"/>
                  </a:lnTo>
                  <a:lnTo>
                    <a:pt x="241" y="188"/>
                  </a:lnTo>
                  <a:lnTo>
                    <a:pt x="225" y="150"/>
                  </a:lnTo>
                  <a:lnTo>
                    <a:pt x="208" y="113"/>
                  </a:lnTo>
                  <a:lnTo>
                    <a:pt x="192" y="75"/>
                  </a:lnTo>
                  <a:lnTo>
                    <a:pt x="183" y="57"/>
                  </a:lnTo>
                  <a:lnTo>
                    <a:pt x="178" y="50"/>
                  </a:lnTo>
                  <a:lnTo>
                    <a:pt x="173" y="42"/>
                  </a:lnTo>
                  <a:lnTo>
                    <a:pt x="168" y="36"/>
                  </a:lnTo>
                  <a:lnTo>
                    <a:pt x="162" y="29"/>
                  </a:lnTo>
                  <a:lnTo>
                    <a:pt x="157" y="24"/>
                  </a:lnTo>
                  <a:lnTo>
                    <a:pt x="150" y="19"/>
                  </a:lnTo>
                  <a:lnTo>
                    <a:pt x="144" y="14"/>
                  </a:lnTo>
                  <a:lnTo>
                    <a:pt x="137" y="10"/>
                  </a:lnTo>
                  <a:lnTo>
                    <a:pt x="131" y="7"/>
                  </a:lnTo>
                  <a:lnTo>
                    <a:pt x="123" y="5"/>
                  </a:lnTo>
                  <a:lnTo>
                    <a:pt x="116" y="3"/>
                  </a:lnTo>
                  <a:lnTo>
                    <a:pt x="108" y="1"/>
                  </a:lnTo>
                  <a:lnTo>
                    <a:pt x="99" y="0"/>
                  </a:lnTo>
                  <a:lnTo>
                    <a:pt x="90" y="0"/>
                  </a:lnTo>
                  <a:lnTo>
                    <a:pt x="83" y="0"/>
                  </a:lnTo>
                  <a:lnTo>
                    <a:pt x="74" y="1"/>
                  </a:lnTo>
                  <a:lnTo>
                    <a:pt x="65" y="4"/>
                  </a:lnTo>
                  <a:lnTo>
                    <a:pt x="58" y="6"/>
                  </a:lnTo>
                  <a:lnTo>
                    <a:pt x="50" y="9"/>
                  </a:lnTo>
                  <a:lnTo>
                    <a:pt x="42" y="13"/>
                  </a:lnTo>
                  <a:lnTo>
                    <a:pt x="35" y="19"/>
                  </a:lnTo>
                  <a:lnTo>
                    <a:pt x="28" y="24"/>
                  </a:lnTo>
                  <a:lnTo>
                    <a:pt x="23" y="30"/>
                  </a:lnTo>
                  <a:lnTo>
                    <a:pt x="17" y="38"/>
                  </a:lnTo>
                  <a:lnTo>
                    <a:pt x="8" y="55"/>
                  </a:lnTo>
                  <a:lnTo>
                    <a:pt x="2" y="75"/>
                  </a:lnTo>
                  <a:lnTo>
                    <a:pt x="0" y="100"/>
                  </a:lnTo>
                  <a:lnTo>
                    <a:pt x="0" y="472"/>
                  </a:lnTo>
                  <a:lnTo>
                    <a:pt x="101" y="472"/>
                  </a:lnTo>
                  <a:lnTo>
                    <a:pt x="101" y="110"/>
                  </a:lnTo>
                  <a:lnTo>
                    <a:pt x="119" y="147"/>
                  </a:lnTo>
                  <a:lnTo>
                    <a:pt x="135" y="185"/>
                  </a:lnTo>
                  <a:lnTo>
                    <a:pt x="152" y="221"/>
                  </a:lnTo>
                  <a:lnTo>
                    <a:pt x="169" y="259"/>
                  </a:lnTo>
                  <a:lnTo>
                    <a:pt x="185" y="296"/>
                  </a:lnTo>
                  <a:lnTo>
                    <a:pt x="202" y="334"/>
                  </a:lnTo>
                  <a:lnTo>
                    <a:pt x="219" y="371"/>
                  </a:lnTo>
                  <a:lnTo>
                    <a:pt x="236" y="408"/>
                  </a:lnTo>
                  <a:lnTo>
                    <a:pt x="239" y="415"/>
                  </a:lnTo>
                  <a:lnTo>
                    <a:pt x="243" y="423"/>
                  </a:lnTo>
                  <a:lnTo>
                    <a:pt x="246" y="430"/>
                  </a:lnTo>
                  <a:lnTo>
                    <a:pt x="251" y="436"/>
                  </a:lnTo>
                  <a:lnTo>
                    <a:pt x="255" y="442"/>
                  </a:lnTo>
                  <a:lnTo>
                    <a:pt x="261" y="447"/>
                  </a:lnTo>
                  <a:lnTo>
                    <a:pt x="266" y="453"/>
                  </a:lnTo>
                  <a:lnTo>
                    <a:pt x="270" y="458"/>
                  </a:lnTo>
                  <a:lnTo>
                    <a:pt x="277" y="461"/>
                  </a:lnTo>
                  <a:lnTo>
                    <a:pt x="282" y="465"/>
                  </a:lnTo>
                  <a:lnTo>
                    <a:pt x="289" y="469"/>
                  </a:lnTo>
                  <a:lnTo>
                    <a:pt x="296" y="471"/>
                  </a:lnTo>
                  <a:lnTo>
                    <a:pt x="302" y="473"/>
                  </a:lnTo>
                  <a:lnTo>
                    <a:pt x="310" y="475"/>
                  </a:lnTo>
                  <a:lnTo>
                    <a:pt x="316" y="475"/>
                  </a:lnTo>
                  <a:lnTo>
                    <a:pt x="325" y="476"/>
                  </a:lnTo>
                  <a:lnTo>
                    <a:pt x="325" y="476"/>
                  </a:lnTo>
                  <a:lnTo>
                    <a:pt x="333" y="475"/>
                  </a:lnTo>
                  <a:lnTo>
                    <a:pt x="340" y="475"/>
                  </a:lnTo>
                  <a:lnTo>
                    <a:pt x="347" y="473"/>
                  </a:lnTo>
                  <a:lnTo>
                    <a:pt x="353" y="471"/>
                  </a:lnTo>
                  <a:lnTo>
                    <a:pt x="360" y="469"/>
                  </a:lnTo>
                  <a:lnTo>
                    <a:pt x="366" y="465"/>
                  </a:lnTo>
                  <a:lnTo>
                    <a:pt x="372" y="461"/>
                  </a:lnTo>
                  <a:lnTo>
                    <a:pt x="378" y="458"/>
                  </a:lnTo>
                  <a:lnTo>
                    <a:pt x="384" y="453"/>
                  </a:lnTo>
                  <a:lnTo>
                    <a:pt x="388" y="447"/>
                  </a:lnTo>
                  <a:lnTo>
                    <a:pt x="394" y="442"/>
                  </a:lnTo>
                  <a:lnTo>
                    <a:pt x="398" y="436"/>
                  </a:lnTo>
                  <a:lnTo>
                    <a:pt x="402" y="430"/>
                  </a:lnTo>
                  <a:lnTo>
                    <a:pt x="406" y="423"/>
                  </a:lnTo>
                  <a:lnTo>
                    <a:pt x="410" y="415"/>
                  </a:lnTo>
                  <a:lnTo>
                    <a:pt x="413" y="408"/>
                  </a:lnTo>
                  <a:lnTo>
                    <a:pt x="430" y="371"/>
                  </a:lnTo>
                  <a:lnTo>
                    <a:pt x="447" y="334"/>
                  </a:lnTo>
                  <a:lnTo>
                    <a:pt x="464" y="296"/>
                  </a:lnTo>
                  <a:lnTo>
                    <a:pt x="480" y="259"/>
                  </a:lnTo>
                  <a:lnTo>
                    <a:pt x="497" y="221"/>
                  </a:lnTo>
                  <a:lnTo>
                    <a:pt x="514" y="185"/>
                  </a:lnTo>
                  <a:lnTo>
                    <a:pt x="530" y="147"/>
                  </a:lnTo>
                  <a:lnTo>
                    <a:pt x="548" y="110"/>
                  </a:lnTo>
                  <a:lnTo>
                    <a:pt x="548" y="472"/>
                  </a:lnTo>
                  <a:lnTo>
                    <a:pt x="649" y="472"/>
                  </a:lnTo>
                  <a:lnTo>
                    <a:pt x="649" y="100"/>
                  </a:lnTo>
                  <a:lnTo>
                    <a:pt x="647" y="75"/>
                  </a:lnTo>
                  <a:lnTo>
                    <a:pt x="641" y="55"/>
                  </a:lnTo>
                  <a:lnTo>
                    <a:pt x="633" y="38"/>
                  </a:lnTo>
                  <a:lnTo>
                    <a:pt x="626" y="30"/>
                  </a:lnTo>
                  <a:lnTo>
                    <a:pt x="621" y="24"/>
                  </a:lnTo>
                  <a:lnTo>
                    <a:pt x="614" y="19"/>
                  </a:lnTo>
                  <a:lnTo>
                    <a:pt x="606" y="13"/>
                  </a:lnTo>
                  <a:lnTo>
                    <a:pt x="599" y="9"/>
                  </a:lnTo>
                  <a:lnTo>
                    <a:pt x="591" y="6"/>
                  </a:lnTo>
                  <a:lnTo>
                    <a:pt x="584" y="4"/>
                  </a:lnTo>
                  <a:lnTo>
                    <a:pt x="575" y="1"/>
                  </a:lnTo>
                  <a:lnTo>
                    <a:pt x="567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3010760" y="2909992"/>
              <a:ext cx="1038025" cy="1153354"/>
            </a:xfrm>
            <a:custGeom>
              <a:avLst/>
              <a:gdLst>
                <a:gd name="T0" fmla="*/ 111 w 362"/>
                <a:gd name="T1" fmla="*/ 315 h 400"/>
                <a:gd name="T2" fmla="*/ 109 w 362"/>
                <a:gd name="T3" fmla="*/ 315 h 400"/>
                <a:gd name="T4" fmla="*/ 108 w 362"/>
                <a:gd name="T5" fmla="*/ 315 h 400"/>
                <a:gd name="T6" fmla="*/ 105 w 362"/>
                <a:gd name="T7" fmla="*/ 314 h 400"/>
                <a:gd name="T8" fmla="*/ 104 w 362"/>
                <a:gd name="T9" fmla="*/ 313 h 400"/>
                <a:gd name="T10" fmla="*/ 103 w 362"/>
                <a:gd name="T11" fmla="*/ 312 h 400"/>
                <a:gd name="T12" fmla="*/ 102 w 362"/>
                <a:gd name="T13" fmla="*/ 310 h 400"/>
                <a:gd name="T14" fmla="*/ 102 w 362"/>
                <a:gd name="T15" fmla="*/ 309 h 400"/>
                <a:gd name="T16" fmla="*/ 102 w 362"/>
                <a:gd name="T17" fmla="*/ 307 h 400"/>
                <a:gd name="T18" fmla="*/ 102 w 362"/>
                <a:gd name="T19" fmla="*/ 236 h 400"/>
                <a:gd name="T20" fmla="*/ 356 w 362"/>
                <a:gd name="T21" fmla="*/ 236 h 400"/>
                <a:gd name="T22" fmla="*/ 356 w 362"/>
                <a:gd name="T23" fmla="*/ 154 h 400"/>
                <a:gd name="T24" fmla="*/ 102 w 362"/>
                <a:gd name="T25" fmla="*/ 154 h 400"/>
                <a:gd name="T26" fmla="*/ 102 w 362"/>
                <a:gd name="T27" fmla="*/ 93 h 400"/>
                <a:gd name="T28" fmla="*/ 102 w 362"/>
                <a:gd name="T29" fmla="*/ 91 h 400"/>
                <a:gd name="T30" fmla="*/ 102 w 362"/>
                <a:gd name="T31" fmla="*/ 90 h 400"/>
                <a:gd name="T32" fmla="*/ 103 w 362"/>
                <a:gd name="T33" fmla="*/ 88 h 400"/>
                <a:gd name="T34" fmla="*/ 104 w 362"/>
                <a:gd name="T35" fmla="*/ 87 h 400"/>
                <a:gd name="T36" fmla="*/ 105 w 362"/>
                <a:gd name="T37" fmla="*/ 86 h 400"/>
                <a:gd name="T38" fmla="*/ 108 w 362"/>
                <a:gd name="T39" fmla="*/ 86 h 400"/>
                <a:gd name="T40" fmla="*/ 109 w 362"/>
                <a:gd name="T41" fmla="*/ 85 h 400"/>
                <a:gd name="T42" fmla="*/ 111 w 362"/>
                <a:gd name="T43" fmla="*/ 85 h 400"/>
                <a:gd name="T44" fmla="*/ 362 w 362"/>
                <a:gd name="T45" fmla="*/ 85 h 400"/>
                <a:gd name="T46" fmla="*/ 362 w 362"/>
                <a:gd name="T47" fmla="*/ 0 h 400"/>
                <a:gd name="T48" fmla="*/ 61 w 362"/>
                <a:gd name="T49" fmla="*/ 0 h 400"/>
                <a:gd name="T50" fmla="*/ 54 w 362"/>
                <a:gd name="T51" fmla="*/ 0 h 400"/>
                <a:gd name="T52" fmla="*/ 48 w 362"/>
                <a:gd name="T53" fmla="*/ 1 h 400"/>
                <a:gd name="T54" fmla="*/ 42 w 362"/>
                <a:gd name="T55" fmla="*/ 3 h 400"/>
                <a:gd name="T56" fmla="*/ 36 w 362"/>
                <a:gd name="T57" fmla="*/ 6 h 400"/>
                <a:gd name="T58" fmla="*/ 31 w 362"/>
                <a:gd name="T59" fmla="*/ 8 h 400"/>
                <a:gd name="T60" fmla="*/ 26 w 362"/>
                <a:gd name="T61" fmla="*/ 11 h 400"/>
                <a:gd name="T62" fmla="*/ 21 w 362"/>
                <a:gd name="T63" fmla="*/ 14 h 400"/>
                <a:gd name="T64" fmla="*/ 17 w 362"/>
                <a:gd name="T65" fmla="*/ 18 h 400"/>
                <a:gd name="T66" fmla="*/ 13 w 362"/>
                <a:gd name="T67" fmla="*/ 23 h 400"/>
                <a:gd name="T68" fmla="*/ 9 w 362"/>
                <a:gd name="T69" fmla="*/ 28 h 400"/>
                <a:gd name="T70" fmla="*/ 7 w 362"/>
                <a:gd name="T71" fmla="*/ 32 h 400"/>
                <a:gd name="T72" fmla="*/ 4 w 362"/>
                <a:gd name="T73" fmla="*/ 38 h 400"/>
                <a:gd name="T74" fmla="*/ 3 w 362"/>
                <a:gd name="T75" fmla="*/ 43 h 400"/>
                <a:gd name="T76" fmla="*/ 1 w 362"/>
                <a:gd name="T77" fmla="*/ 48 h 400"/>
                <a:gd name="T78" fmla="*/ 0 w 362"/>
                <a:gd name="T79" fmla="*/ 54 h 400"/>
                <a:gd name="T80" fmla="*/ 0 w 362"/>
                <a:gd name="T81" fmla="*/ 60 h 400"/>
                <a:gd name="T82" fmla="*/ 0 w 362"/>
                <a:gd name="T83" fmla="*/ 340 h 400"/>
                <a:gd name="T84" fmla="*/ 0 w 362"/>
                <a:gd name="T85" fmla="*/ 346 h 400"/>
                <a:gd name="T86" fmla="*/ 1 w 362"/>
                <a:gd name="T87" fmla="*/ 352 h 400"/>
                <a:gd name="T88" fmla="*/ 3 w 362"/>
                <a:gd name="T89" fmla="*/ 357 h 400"/>
                <a:gd name="T90" fmla="*/ 4 w 362"/>
                <a:gd name="T91" fmla="*/ 362 h 400"/>
                <a:gd name="T92" fmla="*/ 7 w 362"/>
                <a:gd name="T93" fmla="*/ 368 h 400"/>
                <a:gd name="T94" fmla="*/ 9 w 362"/>
                <a:gd name="T95" fmla="*/ 373 h 400"/>
                <a:gd name="T96" fmla="*/ 13 w 362"/>
                <a:gd name="T97" fmla="*/ 377 h 400"/>
                <a:gd name="T98" fmla="*/ 17 w 362"/>
                <a:gd name="T99" fmla="*/ 382 h 400"/>
                <a:gd name="T100" fmla="*/ 21 w 362"/>
                <a:gd name="T101" fmla="*/ 386 h 400"/>
                <a:gd name="T102" fmla="*/ 26 w 362"/>
                <a:gd name="T103" fmla="*/ 389 h 400"/>
                <a:gd name="T104" fmla="*/ 31 w 362"/>
                <a:gd name="T105" fmla="*/ 392 h 400"/>
                <a:gd name="T106" fmla="*/ 36 w 362"/>
                <a:gd name="T107" fmla="*/ 394 h 400"/>
                <a:gd name="T108" fmla="*/ 42 w 362"/>
                <a:gd name="T109" fmla="*/ 397 h 400"/>
                <a:gd name="T110" fmla="*/ 48 w 362"/>
                <a:gd name="T111" fmla="*/ 399 h 400"/>
                <a:gd name="T112" fmla="*/ 54 w 362"/>
                <a:gd name="T113" fmla="*/ 400 h 400"/>
                <a:gd name="T114" fmla="*/ 61 w 362"/>
                <a:gd name="T115" fmla="*/ 400 h 400"/>
                <a:gd name="T116" fmla="*/ 362 w 362"/>
                <a:gd name="T117" fmla="*/ 400 h 400"/>
                <a:gd name="T118" fmla="*/ 362 w 362"/>
                <a:gd name="T119" fmla="*/ 315 h 400"/>
                <a:gd name="T120" fmla="*/ 143 w 362"/>
                <a:gd name="T121" fmla="*/ 315 h 400"/>
                <a:gd name="T122" fmla="*/ 111 w 362"/>
                <a:gd name="T123" fmla="*/ 315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2" h="400">
                  <a:moveTo>
                    <a:pt x="111" y="315"/>
                  </a:moveTo>
                  <a:lnTo>
                    <a:pt x="109" y="315"/>
                  </a:lnTo>
                  <a:lnTo>
                    <a:pt x="108" y="315"/>
                  </a:lnTo>
                  <a:lnTo>
                    <a:pt x="105" y="314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0"/>
                  </a:lnTo>
                  <a:lnTo>
                    <a:pt x="102" y="309"/>
                  </a:lnTo>
                  <a:lnTo>
                    <a:pt x="102" y="307"/>
                  </a:lnTo>
                  <a:lnTo>
                    <a:pt x="102" y="236"/>
                  </a:lnTo>
                  <a:lnTo>
                    <a:pt x="356" y="236"/>
                  </a:lnTo>
                  <a:lnTo>
                    <a:pt x="356" y="154"/>
                  </a:lnTo>
                  <a:lnTo>
                    <a:pt x="102" y="154"/>
                  </a:ln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5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1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9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340"/>
                  </a:lnTo>
                  <a:lnTo>
                    <a:pt x="0" y="346"/>
                  </a:lnTo>
                  <a:lnTo>
                    <a:pt x="1" y="352"/>
                  </a:lnTo>
                  <a:lnTo>
                    <a:pt x="3" y="357"/>
                  </a:lnTo>
                  <a:lnTo>
                    <a:pt x="4" y="362"/>
                  </a:lnTo>
                  <a:lnTo>
                    <a:pt x="7" y="368"/>
                  </a:lnTo>
                  <a:lnTo>
                    <a:pt x="9" y="373"/>
                  </a:lnTo>
                  <a:lnTo>
                    <a:pt x="13" y="377"/>
                  </a:lnTo>
                  <a:lnTo>
                    <a:pt x="17" y="382"/>
                  </a:lnTo>
                  <a:lnTo>
                    <a:pt x="21" y="386"/>
                  </a:lnTo>
                  <a:lnTo>
                    <a:pt x="26" y="389"/>
                  </a:lnTo>
                  <a:lnTo>
                    <a:pt x="31" y="392"/>
                  </a:lnTo>
                  <a:lnTo>
                    <a:pt x="36" y="394"/>
                  </a:lnTo>
                  <a:lnTo>
                    <a:pt x="42" y="397"/>
                  </a:lnTo>
                  <a:lnTo>
                    <a:pt x="48" y="399"/>
                  </a:lnTo>
                  <a:lnTo>
                    <a:pt x="54" y="400"/>
                  </a:lnTo>
                  <a:lnTo>
                    <a:pt x="61" y="400"/>
                  </a:lnTo>
                  <a:lnTo>
                    <a:pt x="362" y="400"/>
                  </a:lnTo>
                  <a:lnTo>
                    <a:pt x="362" y="315"/>
                  </a:lnTo>
                  <a:lnTo>
                    <a:pt x="143" y="315"/>
                  </a:lnTo>
                  <a:lnTo>
                    <a:pt x="111" y="3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auto">
            <a:xfrm>
              <a:off x="4250623" y="2909992"/>
              <a:ext cx="1052442" cy="1153354"/>
            </a:xfrm>
            <a:custGeom>
              <a:avLst/>
              <a:gdLst>
                <a:gd name="T0" fmla="*/ 102 w 362"/>
                <a:gd name="T1" fmla="*/ 400 h 400"/>
                <a:gd name="T2" fmla="*/ 102 w 362"/>
                <a:gd name="T3" fmla="*/ 93 h 400"/>
                <a:gd name="T4" fmla="*/ 102 w 362"/>
                <a:gd name="T5" fmla="*/ 91 h 400"/>
                <a:gd name="T6" fmla="*/ 102 w 362"/>
                <a:gd name="T7" fmla="*/ 90 h 400"/>
                <a:gd name="T8" fmla="*/ 103 w 362"/>
                <a:gd name="T9" fmla="*/ 88 h 400"/>
                <a:gd name="T10" fmla="*/ 104 w 362"/>
                <a:gd name="T11" fmla="*/ 87 h 400"/>
                <a:gd name="T12" fmla="*/ 106 w 362"/>
                <a:gd name="T13" fmla="*/ 86 h 400"/>
                <a:gd name="T14" fmla="*/ 108 w 362"/>
                <a:gd name="T15" fmla="*/ 86 h 400"/>
                <a:gd name="T16" fmla="*/ 109 w 362"/>
                <a:gd name="T17" fmla="*/ 85 h 400"/>
                <a:gd name="T18" fmla="*/ 111 w 362"/>
                <a:gd name="T19" fmla="*/ 85 h 400"/>
                <a:gd name="T20" fmla="*/ 362 w 362"/>
                <a:gd name="T21" fmla="*/ 85 h 400"/>
                <a:gd name="T22" fmla="*/ 362 w 362"/>
                <a:gd name="T23" fmla="*/ 0 h 400"/>
                <a:gd name="T24" fmla="*/ 61 w 362"/>
                <a:gd name="T25" fmla="*/ 0 h 400"/>
                <a:gd name="T26" fmla="*/ 54 w 362"/>
                <a:gd name="T27" fmla="*/ 0 h 400"/>
                <a:gd name="T28" fmla="*/ 48 w 362"/>
                <a:gd name="T29" fmla="*/ 1 h 400"/>
                <a:gd name="T30" fmla="*/ 42 w 362"/>
                <a:gd name="T31" fmla="*/ 3 h 400"/>
                <a:gd name="T32" fmla="*/ 36 w 362"/>
                <a:gd name="T33" fmla="*/ 6 h 400"/>
                <a:gd name="T34" fmla="*/ 31 w 362"/>
                <a:gd name="T35" fmla="*/ 8 h 400"/>
                <a:gd name="T36" fmla="*/ 26 w 362"/>
                <a:gd name="T37" fmla="*/ 11 h 400"/>
                <a:gd name="T38" fmla="*/ 22 w 362"/>
                <a:gd name="T39" fmla="*/ 14 h 400"/>
                <a:gd name="T40" fmla="*/ 17 w 362"/>
                <a:gd name="T41" fmla="*/ 18 h 400"/>
                <a:gd name="T42" fmla="*/ 13 w 362"/>
                <a:gd name="T43" fmla="*/ 23 h 400"/>
                <a:gd name="T44" fmla="*/ 10 w 362"/>
                <a:gd name="T45" fmla="*/ 28 h 400"/>
                <a:gd name="T46" fmla="*/ 7 w 362"/>
                <a:gd name="T47" fmla="*/ 32 h 400"/>
                <a:gd name="T48" fmla="*/ 4 w 362"/>
                <a:gd name="T49" fmla="*/ 38 h 400"/>
                <a:gd name="T50" fmla="*/ 3 w 362"/>
                <a:gd name="T51" fmla="*/ 43 h 400"/>
                <a:gd name="T52" fmla="*/ 1 w 362"/>
                <a:gd name="T53" fmla="*/ 48 h 400"/>
                <a:gd name="T54" fmla="*/ 0 w 362"/>
                <a:gd name="T55" fmla="*/ 54 h 400"/>
                <a:gd name="T56" fmla="*/ 0 w 362"/>
                <a:gd name="T57" fmla="*/ 60 h 400"/>
                <a:gd name="T58" fmla="*/ 0 w 362"/>
                <a:gd name="T59" fmla="*/ 400 h 400"/>
                <a:gd name="T60" fmla="*/ 102 w 362"/>
                <a:gd name="T61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2" h="400">
                  <a:moveTo>
                    <a:pt x="102" y="400"/>
                  </a:moveTo>
                  <a:lnTo>
                    <a:pt x="102" y="93"/>
                  </a:lnTo>
                  <a:lnTo>
                    <a:pt x="102" y="91"/>
                  </a:lnTo>
                  <a:lnTo>
                    <a:pt x="102" y="90"/>
                  </a:lnTo>
                  <a:lnTo>
                    <a:pt x="103" y="88"/>
                  </a:lnTo>
                  <a:lnTo>
                    <a:pt x="104" y="87"/>
                  </a:lnTo>
                  <a:lnTo>
                    <a:pt x="106" y="86"/>
                  </a:lnTo>
                  <a:lnTo>
                    <a:pt x="108" y="86"/>
                  </a:lnTo>
                  <a:lnTo>
                    <a:pt x="109" y="85"/>
                  </a:lnTo>
                  <a:lnTo>
                    <a:pt x="111" y="85"/>
                  </a:lnTo>
                  <a:lnTo>
                    <a:pt x="362" y="85"/>
                  </a:lnTo>
                  <a:lnTo>
                    <a:pt x="362" y="0"/>
                  </a:lnTo>
                  <a:lnTo>
                    <a:pt x="61" y="0"/>
                  </a:lnTo>
                  <a:lnTo>
                    <a:pt x="54" y="0"/>
                  </a:lnTo>
                  <a:lnTo>
                    <a:pt x="48" y="1"/>
                  </a:lnTo>
                  <a:lnTo>
                    <a:pt x="42" y="3"/>
                  </a:lnTo>
                  <a:lnTo>
                    <a:pt x="36" y="6"/>
                  </a:lnTo>
                  <a:lnTo>
                    <a:pt x="31" y="8"/>
                  </a:lnTo>
                  <a:lnTo>
                    <a:pt x="26" y="11"/>
                  </a:lnTo>
                  <a:lnTo>
                    <a:pt x="22" y="14"/>
                  </a:lnTo>
                  <a:lnTo>
                    <a:pt x="17" y="18"/>
                  </a:lnTo>
                  <a:lnTo>
                    <a:pt x="13" y="23"/>
                  </a:lnTo>
                  <a:lnTo>
                    <a:pt x="10" y="28"/>
                  </a:lnTo>
                  <a:lnTo>
                    <a:pt x="7" y="32"/>
                  </a:lnTo>
                  <a:lnTo>
                    <a:pt x="4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0" y="400"/>
                  </a:lnTo>
                  <a:lnTo>
                    <a:pt x="102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11"/>
            <p:cNvSpPr>
              <a:spLocks noEditPoints="1"/>
            </p:cNvSpPr>
            <p:nvPr/>
          </p:nvSpPr>
          <p:spPr bwMode="auto">
            <a:xfrm>
              <a:off x="8503641" y="2895575"/>
              <a:ext cx="1355199" cy="1182188"/>
            </a:xfrm>
            <a:custGeom>
              <a:avLst/>
              <a:gdLst>
                <a:gd name="T0" fmla="*/ 467 w 467"/>
                <a:gd name="T1" fmla="*/ 180 h 410"/>
                <a:gd name="T2" fmla="*/ 460 w 467"/>
                <a:gd name="T3" fmla="*/ 135 h 410"/>
                <a:gd name="T4" fmla="*/ 448 w 467"/>
                <a:gd name="T5" fmla="*/ 96 h 410"/>
                <a:gd name="T6" fmla="*/ 430 w 467"/>
                <a:gd name="T7" fmla="*/ 64 h 410"/>
                <a:gd name="T8" fmla="*/ 403 w 467"/>
                <a:gd name="T9" fmla="*/ 38 h 410"/>
                <a:gd name="T10" fmla="*/ 370 w 467"/>
                <a:gd name="T11" fmla="*/ 20 h 410"/>
                <a:gd name="T12" fmla="*/ 328 w 467"/>
                <a:gd name="T13" fmla="*/ 7 h 410"/>
                <a:gd name="T14" fmla="*/ 279 w 467"/>
                <a:gd name="T15" fmla="*/ 1 h 410"/>
                <a:gd name="T16" fmla="*/ 216 w 467"/>
                <a:gd name="T17" fmla="*/ 0 h 410"/>
                <a:gd name="T18" fmla="*/ 162 w 467"/>
                <a:gd name="T19" fmla="*/ 3 h 410"/>
                <a:gd name="T20" fmla="*/ 116 w 467"/>
                <a:gd name="T21" fmla="*/ 13 h 410"/>
                <a:gd name="T22" fmla="*/ 79 w 467"/>
                <a:gd name="T23" fmla="*/ 29 h 410"/>
                <a:gd name="T24" fmla="*/ 50 w 467"/>
                <a:gd name="T25" fmla="*/ 50 h 410"/>
                <a:gd name="T26" fmla="*/ 27 w 467"/>
                <a:gd name="T27" fmla="*/ 79 h 410"/>
                <a:gd name="T28" fmla="*/ 12 w 467"/>
                <a:gd name="T29" fmla="*/ 114 h 410"/>
                <a:gd name="T30" fmla="*/ 3 w 467"/>
                <a:gd name="T31" fmla="*/ 156 h 410"/>
                <a:gd name="T32" fmla="*/ 0 w 467"/>
                <a:gd name="T33" fmla="*/ 205 h 410"/>
                <a:gd name="T34" fmla="*/ 1 w 467"/>
                <a:gd name="T35" fmla="*/ 230 h 410"/>
                <a:gd name="T36" fmla="*/ 6 w 467"/>
                <a:gd name="T37" fmla="*/ 275 h 410"/>
                <a:gd name="T38" fmla="*/ 19 w 467"/>
                <a:gd name="T39" fmla="*/ 314 h 410"/>
                <a:gd name="T40" fmla="*/ 38 w 467"/>
                <a:gd name="T41" fmla="*/ 346 h 410"/>
                <a:gd name="T42" fmla="*/ 64 w 467"/>
                <a:gd name="T43" fmla="*/ 372 h 410"/>
                <a:gd name="T44" fmla="*/ 98 w 467"/>
                <a:gd name="T45" fmla="*/ 390 h 410"/>
                <a:gd name="T46" fmla="*/ 139 w 467"/>
                <a:gd name="T47" fmla="*/ 403 h 410"/>
                <a:gd name="T48" fmla="*/ 188 w 467"/>
                <a:gd name="T49" fmla="*/ 409 h 410"/>
                <a:gd name="T50" fmla="*/ 251 w 467"/>
                <a:gd name="T51" fmla="*/ 410 h 410"/>
                <a:gd name="T52" fmla="*/ 304 w 467"/>
                <a:gd name="T53" fmla="*/ 407 h 410"/>
                <a:gd name="T54" fmla="*/ 349 w 467"/>
                <a:gd name="T55" fmla="*/ 397 h 410"/>
                <a:gd name="T56" fmla="*/ 387 w 467"/>
                <a:gd name="T57" fmla="*/ 381 h 410"/>
                <a:gd name="T58" fmla="*/ 416 w 467"/>
                <a:gd name="T59" fmla="*/ 360 h 410"/>
                <a:gd name="T60" fmla="*/ 439 w 467"/>
                <a:gd name="T61" fmla="*/ 331 h 410"/>
                <a:gd name="T62" fmla="*/ 455 w 467"/>
                <a:gd name="T63" fmla="*/ 295 h 410"/>
                <a:gd name="T64" fmla="*/ 464 w 467"/>
                <a:gd name="T65" fmla="*/ 254 h 410"/>
                <a:gd name="T66" fmla="*/ 467 w 467"/>
                <a:gd name="T67" fmla="*/ 205 h 410"/>
                <a:gd name="T68" fmla="*/ 250 w 467"/>
                <a:gd name="T69" fmla="*/ 327 h 410"/>
                <a:gd name="T70" fmla="*/ 187 w 467"/>
                <a:gd name="T71" fmla="*/ 325 h 410"/>
                <a:gd name="T72" fmla="*/ 143 w 467"/>
                <a:gd name="T73" fmla="*/ 310 h 410"/>
                <a:gd name="T74" fmla="*/ 126 w 467"/>
                <a:gd name="T75" fmla="*/ 298 h 410"/>
                <a:gd name="T76" fmla="*/ 114 w 467"/>
                <a:gd name="T77" fmla="*/ 280 h 410"/>
                <a:gd name="T78" fmla="*/ 101 w 467"/>
                <a:gd name="T79" fmla="*/ 235 h 410"/>
                <a:gd name="T80" fmla="*/ 99 w 467"/>
                <a:gd name="T81" fmla="*/ 205 h 410"/>
                <a:gd name="T82" fmla="*/ 106 w 467"/>
                <a:gd name="T83" fmla="*/ 152 h 410"/>
                <a:gd name="T84" fmla="*/ 119 w 467"/>
                <a:gd name="T85" fmla="*/ 122 h 410"/>
                <a:gd name="T86" fmla="*/ 132 w 467"/>
                <a:gd name="T87" fmla="*/ 107 h 410"/>
                <a:gd name="T88" fmla="*/ 161 w 467"/>
                <a:gd name="T89" fmla="*/ 92 h 410"/>
                <a:gd name="T90" fmla="*/ 186 w 467"/>
                <a:gd name="T91" fmla="*/ 87 h 410"/>
                <a:gd name="T92" fmla="*/ 217 w 467"/>
                <a:gd name="T93" fmla="*/ 84 h 410"/>
                <a:gd name="T94" fmla="*/ 265 w 467"/>
                <a:gd name="T95" fmla="*/ 84 h 410"/>
                <a:gd name="T96" fmla="*/ 304 w 467"/>
                <a:gd name="T97" fmla="*/ 92 h 410"/>
                <a:gd name="T98" fmla="*/ 334 w 467"/>
                <a:gd name="T99" fmla="*/ 107 h 410"/>
                <a:gd name="T100" fmla="*/ 348 w 467"/>
                <a:gd name="T101" fmla="*/ 122 h 410"/>
                <a:gd name="T102" fmla="*/ 361 w 467"/>
                <a:gd name="T103" fmla="*/ 152 h 410"/>
                <a:gd name="T104" fmla="*/ 367 w 467"/>
                <a:gd name="T105" fmla="*/ 205 h 410"/>
                <a:gd name="T106" fmla="*/ 366 w 467"/>
                <a:gd name="T107" fmla="*/ 235 h 410"/>
                <a:gd name="T108" fmla="*/ 352 w 467"/>
                <a:gd name="T109" fmla="*/ 280 h 410"/>
                <a:gd name="T110" fmla="*/ 340 w 467"/>
                <a:gd name="T111" fmla="*/ 298 h 410"/>
                <a:gd name="T112" fmla="*/ 324 w 467"/>
                <a:gd name="T113" fmla="*/ 310 h 410"/>
                <a:gd name="T114" fmla="*/ 279 w 467"/>
                <a:gd name="T115" fmla="*/ 32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7" h="410">
                  <a:moveTo>
                    <a:pt x="467" y="205"/>
                  </a:moveTo>
                  <a:lnTo>
                    <a:pt x="467" y="180"/>
                  </a:lnTo>
                  <a:lnTo>
                    <a:pt x="464" y="156"/>
                  </a:lnTo>
                  <a:lnTo>
                    <a:pt x="460" y="135"/>
                  </a:lnTo>
                  <a:lnTo>
                    <a:pt x="455" y="114"/>
                  </a:lnTo>
                  <a:lnTo>
                    <a:pt x="448" y="96"/>
                  </a:lnTo>
                  <a:lnTo>
                    <a:pt x="439" y="79"/>
                  </a:lnTo>
                  <a:lnTo>
                    <a:pt x="430" y="64"/>
                  </a:lnTo>
                  <a:lnTo>
                    <a:pt x="416" y="50"/>
                  </a:lnTo>
                  <a:lnTo>
                    <a:pt x="403" y="38"/>
                  </a:lnTo>
                  <a:lnTo>
                    <a:pt x="387" y="29"/>
                  </a:lnTo>
                  <a:lnTo>
                    <a:pt x="370" y="20"/>
                  </a:lnTo>
                  <a:lnTo>
                    <a:pt x="350" y="13"/>
                  </a:lnTo>
                  <a:lnTo>
                    <a:pt x="328" y="7"/>
                  </a:lnTo>
                  <a:lnTo>
                    <a:pt x="305" y="3"/>
                  </a:lnTo>
                  <a:lnTo>
                    <a:pt x="279" y="1"/>
                  </a:lnTo>
                  <a:lnTo>
                    <a:pt x="252" y="0"/>
                  </a:lnTo>
                  <a:lnTo>
                    <a:pt x="216" y="0"/>
                  </a:lnTo>
                  <a:lnTo>
                    <a:pt x="187" y="1"/>
                  </a:lnTo>
                  <a:lnTo>
                    <a:pt x="162" y="3"/>
                  </a:lnTo>
                  <a:lnTo>
                    <a:pt x="138" y="7"/>
                  </a:lnTo>
                  <a:lnTo>
                    <a:pt x="116" y="13"/>
                  </a:lnTo>
                  <a:lnTo>
                    <a:pt x="97" y="20"/>
                  </a:lnTo>
                  <a:lnTo>
                    <a:pt x="79" y="29"/>
                  </a:lnTo>
                  <a:lnTo>
                    <a:pt x="64" y="38"/>
                  </a:lnTo>
                  <a:lnTo>
                    <a:pt x="50" y="50"/>
                  </a:lnTo>
                  <a:lnTo>
                    <a:pt x="38" y="64"/>
                  </a:lnTo>
                  <a:lnTo>
                    <a:pt x="27" y="79"/>
                  </a:lnTo>
                  <a:lnTo>
                    <a:pt x="19" y="96"/>
                  </a:lnTo>
                  <a:lnTo>
                    <a:pt x="12" y="114"/>
                  </a:lnTo>
                  <a:lnTo>
                    <a:pt x="6" y="135"/>
                  </a:lnTo>
                  <a:lnTo>
                    <a:pt x="3" y="156"/>
                  </a:lnTo>
                  <a:lnTo>
                    <a:pt x="1" y="180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30"/>
                  </a:lnTo>
                  <a:lnTo>
                    <a:pt x="3" y="254"/>
                  </a:lnTo>
                  <a:lnTo>
                    <a:pt x="6" y="275"/>
                  </a:lnTo>
                  <a:lnTo>
                    <a:pt x="12" y="295"/>
                  </a:lnTo>
                  <a:lnTo>
                    <a:pt x="19" y="314"/>
                  </a:lnTo>
                  <a:lnTo>
                    <a:pt x="28" y="331"/>
                  </a:lnTo>
                  <a:lnTo>
                    <a:pt x="38" y="346"/>
                  </a:lnTo>
                  <a:lnTo>
                    <a:pt x="50" y="360"/>
                  </a:lnTo>
                  <a:lnTo>
                    <a:pt x="64" y="372"/>
                  </a:lnTo>
                  <a:lnTo>
                    <a:pt x="80" y="381"/>
                  </a:lnTo>
                  <a:lnTo>
                    <a:pt x="98" y="390"/>
                  </a:lnTo>
                  <a:lnTo>
                    <a:pt x="118" y="397"/>
                  </a:lnTo>
                  <a:lnTo>
                    <a:pt x="139" y="403"/>
                  </a:lnTo>
                  <a:lnTo>
                    <a:pt x="163" y="407"/>
                  </a:lnTo>
                  <a:lnTo>
                    <a:pt x="188" y="409"/>
                  </a:lnTo>
                  <a:lnTo>
                    <a:pt x="217" y="410"/>
                  </a:lnTo>
                  <a:lnTo>
                    <a:pt x="251" y="410"/>
                  </a:lnTo>
                  <a:lnTo>
                    <a:pt x="278" y="409"/>
                  </a:lnTo>
                  <a:lnTo>
                    <a:pt x="304" y="407"/>
                  </a:lnTo>
                  <a:lnTo>
                    <a:pt x="327" y="403"/>
                  </a:lnTo>
                  <a:lnTo>
                    <a:pt x="349" y="397"/>
                  </a:lnTo>
                  <a:lnTo>
                    <a:pt x="368" y="390"/>
                  </a:lnTo>
                  <a:lnTo>
                    <a:pt x="387" y="381"/>
                  </a:lnTo>
                  <a:lnTo>
                    <a:pt x="402" y="372"/>
                  </a:lnTo>
                  <a:lnTo>
                    <a:pt x="416" y="360"/>
                  </a:lnTo>
                  <a:lnTo>
                    <a:pt x="428" y="346"/>
                  </a:lnTo>
                  <a:lnTo>
                    <a:pt x="439" y="331"/>
                  </a:lnTo>
                  <a:lnTo>
                    <a:pt x="448" y="314"/>
                  </a:lnTo>
                  <a:lnTo>
                    <a:pt x="455" y="295"/>
                  </a:lnTo>
                  <a:lnTo>
                    <a:pt x="460" y="275"/>
                  </a:lnTo>
                  <a:lnTo>
                    <a:pt x="464" y="254"/>
                  </a:lnTo>
                  <a:lnTo>
                    <a:pt x="467" y="230"/>
                  </a:lnTo>
                  <a:lnTo>
                    <a:pt x="467" y="205"/>
                  </a:lnTo>
                  <a:lnTo>
                    <a:pt x="467" y="205"/>
                  </a:lnTo>
                  <a:close/>
                  <a:moveTo>
                    <a:pt x="250" y="327"/>
                  </a:moveTo>
                  <a:lnTo>
                    <a:pt x="217" y="327"/>
                  </a:lnTo>
                  <a:lnTo>
                    <a:pt x="187" y="325"/>
                  </a:lnTo>
                  <a:lnTo>
                    <a:pt x="162" y="320"/>
                  </a:lnTo>
                  <a:lnTo>
                    <a:pt x="143" y="310"/>
                  </a:lnTo>
                  <a:lnTo>
                    <a:pt x="134" y="305"/>
                  </a:lnTo>
                  <a:lnTo>
                    <a:pt x="126" y="298"/>
                  </a:lnTo>
                  <a:lnTo>
                    <a:pt x="120" y="290"/>
                  </a:lnTo>
                  <a:lnTo>
                    <a:pt x="114" y="280"/>
                  </a:lnTo>
                  <a:lnTo>
                    <a:pt x="106" y="260"/>
                  </a:lnTo>
                  <a:lnTo>
                    <a:pt x="101" y="23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100" y="177"/>
                  </a:lnTo>
                  <a:lnTo>
                    <a:pt x="106" y="152"/>
                  </a:lnTo>
                  <a:lnTo>
                    <a:pt x="113" y="132"/>
                  </a:lnTo>
                  <a:lnTo>
                    <a:pt x="119" y="122"/>
                  </a:lnTo>
                  <a:lnTo>
                    <a:pt x="125" y="114"/>
                  </a:lnTo>
                  <a:lnTo>
                    <a:pt x="132" y="107"/>
                  </a:lnTo>
                  <a:lnTo>
                    <a:pt x="140" y="102"/>
                  </a:lnTo>
                  <a:lnTo>
                    <a:pt x="161" y="92"/>
                  </a:lnTo>
                  <a:lnTo>
                    <a:pt x="173" y="89"/>
                  </a:lnTo>
                  <a:lnTo>
                    <a:pt x="186" y="87"/>
                  </a:lnTo>
                  <a:lnTo>
                    <a:pt x="202" y="84"/>
                  </a:lnTo>
                  <a:lnTo>
                    <a:pt x="217" y="84"/>
                  </a:lnTo>
                  <a:lnTo>
                    <a:pt x="250" y="84"/>
                  </a:lnTo>
                  <a:lnTo>
                    <a:pt x="265" y="84"/>
                  </a:lnTo>
                  <a:lnTo>
                    <a:pt x="280" y="87"/>
                  </a:lnTo>
                  <a:lnTo>
                    <a:pt x="304" y="92"/>
                  </a:lnTo>
                  <a:lnTo>
                    <a:pt x="325" y="102"/>
                  </a:lnTo>
                  <a:lnTo>
                    <a:pt x="334" y="107"/>
                  </a:lnTo>
                  <a:lnTo>
                    <a:pt x="341" y="114"/>
                  </a:lnTo>
                  <a:lnTo>
                    <a:pt x="348" y="122"/>
                  </a:lnTo>
                  <a:lnTo>
                    <a:pt x="353" y="132"/>
                  </a:lnTo>
                  <a:lnTo>
                    <a:pt x="361" y="152"/>
                  </a:lnTo>
                  <a:lnTo>
                    <a:pt x="366" y="177"/>
                  </a:lnTo>
                  <a:lnTo>
                    <a:pt x="367" y="205"/>
                  </a:lnTo>
                  <a:lnTo>
                    <a:pt x="367" y="205"/>
                  </a:lnTo>
                  <a:lnTo>
                    <a:pt x="366" y="235"/>
                  </a:lnTo>
                  <a:lnTo>
                    <a:pt x="361" y="260"/>
                  </a:lnTo>
                  <a:lnTo>
                    <a:pt x="352" y="280"/>
                  </a:lnTo>
                  <a:lnTo>
                    <a:pt x="347" y="290"/>
                  </a:lnTo>
                  <a:lnTo>
                    <a:pt x="340" y="298"/>
                  </a:lnTo>
                  <a:lnTo>
                    <a:pt x="332" y="305"/>
                  </a:lnTo>
                  <a:lnTo>
                    <a:pt x="324" y="310"/>
                  </a:lnTo>
                  <a:lnTo>
                    <a:pt x="304" y="320"/>
                  </a:lnTo>
                  <a:lnTo>
                    <a:pt x="279" y="325"/>
                  </a:lnTo>
                  <a:lnTo>
                    <a:pt x="250" y="3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12"/>
            <p:cNvSpPr>
              <a:spLocks noEditPoints="1"/>
            </p:cNvSpPr>
            <p:nvPr/>
          </p:nvSpPr>
          <p:spPr bwMode="auto">
            <a:xfrm>
              <a:off x="6499676" y="2736989"/>
              <a:ext cx="1802126" cy="1326357"/>
            </a:xfrm>
            <a:custGeom>
              <a:avLst/>
              <a:gdLst>
                <a:gd name="T0" fmla="*/ 183 w 624"/>
                <a:gd name="T1" fmla="*/ 1 h 463"/>
                <a:gd name="T2" fmla="*/ 114 w 624"/>
                <a:gd name="T3" fmla="*/ 14 h 463"/>
                <a:gd name="T4" fmla="*/ 62 w 624"/>
                <a:gd name="T5" fmla="*/ 42 h 463"/>
                <a:gd name="T6" fmla="*/ 27 w 624"/>
                <a:gd name="T7" fmla="*/ 84 h 463"/>
                <a:gd name="T8" fmla="*/ 6 w 624"/>
                <a:gd name="T9" fmla="*/ 138 h 463"/>
                <a:gd name="T10" fmla="*/ 0 w 624"/>
                <a:gd name="T11" fmla="*/ 206 h 463"/>
                <a:gd name="T12" fmla="*/ 1 w 624"/>
                <a:gd name="T13" fmla="*/ 228 h 463"/>
                <a:gd name="T14" fmla="*/ 2 w 624"/>
                <a:gd name="T15" fmla="*/ 249 h 463"/>
                <a:gd name="T16" fmla="*/ 12 w 624"/>
                <a:gd name="T17" fmla="*/ 296 h 463"/>
                <a:gd name="T18" fmla="*/ 32 w 624"/>
                <a:gd name="T19" fmla="*/ 337 h 463"/>
                <a:gd name="T20" fmla="*/ 63 w 624"/>
                <a:gd name="T21" fmla="*/ 372 h 463"/>
                <a:gd name="T22" fmla="*/ 108 w 624"/>
                <a:gd name="T23" fmla="*/ 395 h 463"/>
                <a:gd name="T24" fmla="*/ 168 w 624"/>
                <a:gd name="T25" fmla="*/ 409 h 463"/>
                <a:gd name="T26" fmla="*/ 260 w 624"/>
                <a:gd name="T27" fmla="*/ 411 h 463"/>
                <a:gd name="T28" fmla="*/ 363 w 624"/>
                <a:gd name="T29" fmla="*/ 411 h 463"/>
                <a:gd name="T30" fmla="*/ 456 w 624"/>
                <a:gd name="T31" fmla="*/ 409 h 463"/>
                <a:gd name="T32" fmla="*/ 516 w 624"/>
                <a:gd name="T33" fmla="*/ 395 h 463"/>
                <a:gd name="T34" fmla="*/ 560 w 624"/>
                <a:gd name="T35" fmla="*/ 372 h 463"/>
                <a:gd name="T36" fmla="*/ 591 w 624"/>
                <a:gd name="T37" fmla="*/ 337 h 463"/>
                <a:gd name="T38" fmla="*/ 619 w 624"/>
                <a:gd name="T39" fmla="*/ 262 h 463"/>
                <a:gd name="T40" fmla="*/ 621 w 624"/>
                <a:gd name="T41" fmla="*/ 242 h 463"/>
                <a:gd name="T42" fmla="*/ 624 w 624"/>
                <a:gd name="T43" fmla="*/ 221 h 463"/>
                <a:gd name="T44" fmla="*/ 623 w 624"/>
                <a:gd name="T45" fmla="*/ 182 h 463"/>
                <a:gd name="T46" fmla="*/ 612 w 624"/>
                <a:gd name="T47" fmla="*/ 119 h 463"/>
                <a:gd name="T48" fmla="*/ 587 w 624"/>
                <a:gd name="T49" fmla="*/ 67 h 463"/>
                <a:gd name="T50" fmla="*/ 545 w 624"/>
                <a:gd name="T51" fmla="*/ 31 h 463"/>
                <a:gd name="T52" fmla="*/ 488 w 624"/>
                <a:gd name="T53" fmla="*/ 9 h 463"/>
                <a:gd name="T54" fmla="*/ 412 w 624"/>
                <a:gd name="T55" fmla="*/ 0 h 463"/>
                <a:gd name="T56" fmla="*/ 191 w 624"/>
                <a:gd name="T57" fmla="*/ 326 h 463"/>
                <a:gd name="T58" fmla="*/ 153 w 624"/>
                <a:gd name="T59" fmla="*/ 317 h 463"/>
                <a:gd name="T60" fmla="*/ 134 w 624"/>
                <a:gd name="T61" fmla="*/ 305 h 463"/>
                <a:gd name="T62" fmla="*/ 119 w 624"/>
                <a:gd name="T63" fmla="*/ 289 h 463"/>
                <a:gd name="T64" fmla="*/ 108 w 624"/>
                <a:gd name="T65" fmla="*/ 270 h 463"/>
                <a:gd name="T66" fmla="*/ 102 w 624"/>
                <a:gd name="T67" fmla="*/ 251 h 463"/>
                <a:gd name="T68" fmla="*/ 99 w 624"/>
                <a:gd name="T69" fmla="*/ 229 h 463"/>
                <a:gd name="T70" fmla="*/ 99 w 624"/>
                <a:gd name="T71" fmla="*/ 206 h 463"/>
                <a:gd name="T72" fmla="*/ 115 w 624"/>
                <a:gd name="T73" fmla="*/ 130 h 463"/>
                <a:gd name="T74" fmla="*/ 134 w 624"/>
                <a:gd name="T75" fmla="*/ 106 h 463"/>
                <a:gd name="T76" fmla="*/ 158 w 624"/>
                <a:gd name="T77" fmla="*/ 92 h 463"/>
                <a:gd name="T78" fmla="*/ 260 w 624"/>
                <a:gd name="T79" fmla="*/ 85 h 463"/>
                <a:gd name="T80" fmla="*/ 516 w 624"/>
                <a:gd name="T81" fmla="*/ 270 h 463"/>
                <a:gd name="T82" fmla="*/ 505 w 624"/>
                <a:gd name="T83" fmla="*/ 289 h 463"/>
                <a:gd name="T84" fmla="*/ 489 w 624"/>
                <a:gd name="T85" fmla="*/ 305 h 463"/>
                <a:gd name="T86" fmla="*/ 470 w 624"/>
                <a:gd name="T87" fmla="*/ 317 h 463"/>
                <a:gd name="T88" fmla="*/ 433 w 624"/>
                <a:gd name="T89" fmla="*/ 326 h 463"/>
                <a:gd name="T90" fmla="*/ 363 w 624"/>
                <a:gd name="T91" fmla="*/ 85 h 463"/>
                <a:gd name="T92" fmla="*/ 465 w 624"/>
                <a:gd name="T93" fmla="*/ 92 h 463"/>
                <a:gd name="T94" fmla="*/ 489 w 624"/>
                <a:gd name="T95" fmla="*/ 106 h 463"/>
                <a:gd name="T96" fmla="*/ 508 w 624"/>
                <a:gd name="T97" fmla="*/ 130 h 463"/>
                <a:gd name="T98" fmla="*/ 524 w 624"/>
                <a:gd name="T99" fmla="*/ 206 h 463"/>
                <a:gd name="T100" fmla="*/ 523 w 624"/>
                <a:gd name="T101" fmla="*/ 229 h 463"/>
                <a:gd name="T102" fmla="*/ 522 w 624"/>
                <a:gd name="T103" fmla="*/ 251 h 463"/>
                <a:gd name="T104" fmla="*/ 518 w 624"/>
                <a:gd name="T105" fmla="*/ 264 h 463"/>
                <a:gd name="T106" fmla="*/ 518 w 624"/>
                <a:gd name="T107" fmla="*/ 264 h 463"/>
                <a:gd name="T108" fmla="*/ 518 w 624"/>
                <a:gd name="T109" fmla="*/ 262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4" h="463">
                  <a:moveTo>
                    <a:pt x="412" y="0"/>
                  </a:moveTo>
                  <a:lnTo>
                    <a:pt x="210" y="0"/>
                  </a:lnTo>
                  <a:lnTo>
                    <a:pt x="183" y="1"/>
                  </a:lnTo>
                  <a:lnTo>
                    <a:pt x="158" y="4"/>
                  </a:lnTo>
                  <a:lnTo>
                    <a:pt x="135" y="9"/>
                  </a:lnTo>
                  <a:lnTo>
                    <a:pt x="114" y="14"/>
                  </a:lnTo>
                  <a:lnTo>
                    <a:pt x="95" y="21"/>
                  </a:lnTo>
                  <a:lnTo>
                    <a:pt x="78" y="31"/>
                  </a:lnTo>
                  <a:lnTo>
                    <a:pt x="62" y="42"/>
                  </a:lnTo>
                  <a:lnTo>
                    <a:pt x="49" y="55"/>
                  </a:lnTo>
                  <a:lnTo>
                    <a:pt x="37" y="67"/>
                  </a:lnTo>
                  <a:lnTo>
                    <a:pt x="27" y="84"/>
                  </a:lnTo>
                  <a:lnTo>
                    <a:pt x="18" y="101"/>
                  </a:lnTo>
                  <a:lnTo>
                    <a:pt x="12" y="119"/>
                  </a:lnTo>
                  <a:lnTo>
                    <a:pt x="6" y="138"/>
                  </a:lnTo>
                  <a:lnTo>
                    <a:pt x="3" y="160"/>
                  </a:lnTo>
                  <a:lnTo>
                    <a:pt x="1" y="182"/>
                  </a:lnTo>
                  <a:lnTo>
                    <a:pt x="0" y="206"/>
                  </a:lnTo>
                  <a:lnTo>
                    <a:pt x="0" y="213"/>
                  </a:lnTo>
                  <a:lnTo>
                    <a:pt x="0" y="221"/>
                  </a:lnTo>
                  <a:lnTo>
                    <a:pt x="1" y="228"/>
                  </a:lnTo>
                  <a:lnTo>
                    <a:pt x="1" y="236"/>
                  </a:lnTo>
                  <a:lnTo>
                    <a:pt x="2" y="242"/>
                  </a:lnTo>
                  <a:lnTo>
                    <a:pt x="2" y="249"/>
                  </a:lnTo>
                  <a:lnTo>
                    <a:pt x="3" y="256"/>
                  </a:lnTo>
                  <a:lnTo>
                    <a:pt x="4" y="262"/>
                  </a:lnTo>
                  <a:lnTo>
                    <a:pt x="12" y="296"/>
                  </a:lnTo>
                  <a:lnTo>
                    <a:pt x="17" y="311"/>
                  </a:lnTo>
                  <a:lnTo>
                    <a:pt x="24" y="325"/>
                  </a:lnTo>
                  <a:lnTo>
                    <a:pt x="32" y="337"/>
                  </a:lnTo>
                  <a:lnTo>
                    <a:pt x="41" y="350"/>
                  </a:lnTo>
                  <a:lnTo>
                    <a:pt x="52" y="361"/>
                  </a:lnTo>
                  <a:lnTo>
                    <a:pt x="63" y="372"/>
                  </a:lnTo>
                  <a:lnTo>
                    <a:pt x="77" y="380"/>
                  </a:lnTo>
                  <a:lnTo>
                    <a:pt x="91" y="389"/>
                  </a:lnTo>
                  <a:lnTo>
                    <a:pt x="108" y="395"/>
                  </a:lnTo>
                  <a:lnTo>
                    <a:pt x="126" y="402"/>
                  </a:lnTo>
                  <a:lnTo>
                    <a:pt x="146" y="406"/>
                  </a:lnTo>
                  <a:lnTo>
                    <a:pt x="168" y="409"/>
                  </a:lnTo>
                  <a:lnTo>
                    <a:pt x="191" y="411"/>
                  </a:lnTo>
                  <a:lnTo>
                    <a:pt x="217" y="411"/>
                  </a:lnTo>
                  <a:lnTo>
                    <a:pt x="260" y="411"/>
                  </a:lnTo>
                  <a:lnTo>
                    <a:pt x="260" y="463"/>
                  </a:lnTo>
                  <a:lnTo>
                    <a:pt x="363" y="463"/>
                  </a:lnTo>
                  <a:lnTo>
                    <a:pt x="363" y="411"/>
                  </a:lnTo>
                  <a:lnTo>
                    <a:pt x="407" y="411"/>
                  </a:lnTo>
                  <a:lnTo>
                    <a:pt x="433" y="411"/>
                  </a:lnTo>
                  <a:lnTo>
                    <a:pt x="456" y="409"/>
                  </a:lnTo>
                  <a:lnTo>
                    <a:pt x="477" y="406"/>
                  </a:lnTo>
                  <a:lnTo>
                    <a:pt x="497" y="402"/>
                  </a:lnTo>
                  <a:lnTo>
                    <a:pt x="516" y="395"/>
                  </a:lnTo>
                  <a:lnTo>
                    <a:pt x="532" y="389"/>
                  </a:lnTo>
                  <a:lnTo>
                    <a:pt x="546" y="380"/>
                  </a:lnTo>
                  <a:lnTo>
                    <a:pt x="560" y="372"/>
                  </a:lnTo>
                  <a:lnTo>
                    <a:pt x="571" y="361"/>
                  </a:lnTo>
                  <a:lnTo>
                    <a:pt x="582" y="350"/>
                  </a:lnTo>
                  <a:lnTo>
                    <a:pt x="591" y="337"/>
                  </a:lnTo>
                  <a:lnTo>
                    <a:pt x="600" y="325"/>
                  </a:lnTo>
                  <a:lnTo>
                    <a:pt x="612" y="296"/>
                  </a:lnTo>
                  <a:lnTo>
                    <a:pt x="619" y="262"/>
                  </a:lnTo>
                  <a:lnTo>
                    <a:pt x="620" y="256"/>
                  </a:lnTo>
                  <a:lnTo>
                    <a:pt x="621" y="249"/>
                  </a:lnTo>
                  <a:lnTo>
                    <a:pt x="621" y="242"/>
                  </a:lnTo>
                  <a:lnTo>
                    <a:pt x="623" y="236"/>
                  </a:lnTo>
                  <a:lnTo>
                    <a:pt x="623" y="228"/>
                  </a:lnTo>
                  <a:lnTo>
                    <a:pt x="624" y="221"/>
                  </a:lnTo>
                  <a:lnTo>
                    <a:pt x="624" y="213"/>
                  </a:lnTo>
                  <a:lnTo>
                    <a:pt x="624" y="206"/>
                  </a:lnTo>
                  <a:lnTo>
                    <a:pt x="623" y="182"/>
                  </a:lnTo>
                  <a:lnTo>
                    <a:pt x="620" y="160"/>
                  </a:lnTo>
                  <a:lnTo>
                    <a:pt x="617" y="138"/>
                  </a:lnTo>
                  <a:lnTo>
                    <a:pt x="612" y="119"/>
                  </a:lnTo>
                  <a:lnTo>
                    <a:pt x="605" y="101"/>
                  </a:lnTo>
                  <a:lnTo>
                    <a:pt x="596" y="84"/>
                  </a:lnTo>
                  <a:lnTo>
                    <a:pt x="587" y="67"/>
                  </a:lnTo>
                  <a:lnTo>
                    <a:pt x="575" y="55"/>
                  </a:lnTo>
                  <a:lnTo>
                    <a:pt x="560" y="42"/>
                  </a:lnTo>
                  <a:lnTo>
                    <a:pt x="545" y="31"/>
                  </a:lnTo>
                  <a:lnTo>
                    <a:pt x="528" y="21"/>
                  </a:lnTo>
                  <a:lnTo>
                    <a:pt x="509" y="14"/>
                  </a:lnTo>
                  <a:lnTo>
                    <a:pt x="488" y="9"/>
                  </a:lnTo>
                  <a:lnTo>
                    <a:pt x="464" y="4"/>
                  </a:lnTo>
                  <a:lnTo>
                    <a:pt x="439" y="1"/>
                  </a:lnTo>
                  <a:lnTo>
                    <a:pt x="412" y="0"/>
                  </a:lnTo>
                  <a:close/>
                  <a:moveTo>
                    <a:pt x="260" y="327"/>
                  </a:moveTo>
                  <a:lnTo>
                    <a:pt x="215" y="327"/>
                  </a:lnTo>
                  <a:lnTo>
                    <a:pt x="191" y="326"/>
                  </a:lnTo>
                  <a:lnTo>
                    <a:pt x="170" y="322"/>
                  </a:lnTo>
                  <a:lnTo>
                    <a:pt x="161" y="320"/>
                  </a:lnTo>
                  <a:lnTo>
                    <a:pt x="153" y="317"/>
                  </a:lnTo>
                  <a:lnTo>
                    <a:pt x="146" y="314"/>
                  </a:lnTo>
                  <a:lnTo>
                    <a:pt x="139" y="310"/>
                  </a:lnTo>
                  <a:lnTo>
                    <a:pt x="134" y="305"/>
                  </a:lnTo>
                  <a:lnTo>
                    <a:pt x="128" y="300"/>
                  </a:lnTo>
                  <a:lnTo>
                    <a:pt x="123" y="295"/>
                  </a:lnTo>
                  <a:lnTo>
                    <a:pt x="119" y="289"/>
                  </a:lnTo>
                  <a:lnTo>
                    <a:pt x="115" y="283"/>
                  </a:lnTo>
                  <a:lnTo>
                    <a:pt x="111" y="276"/>
                  </a:lnTo>
                  <a:lnTo>
                    <a:pt x="108" y="270"/>
                  </a:lnTo>
                  <a:lnTo>
                    <a:pt x="105" y="262"/>
                  </a:lnTo>
                  <a:lnTo>
                    <a:pt x="103" y="256"/>
                  </a:lnTo>
                  <a:lnTo>
                    <a:pt x="102" y="251"/>
                  </a:lnTo>
                  <a:lnTo>
                    <a:pt x="101" y="243"/>
                  </a:lnTo>
                  <a:lnTo>
                    <a:pt x="100" y="237"/>
                  </a:lnTo>
                  <a:lnTo>
                    <a:pt x="99" y="229"/>
                  </a:lnTo>
                  <a:lnTo>
                    <a:pt x="99" y="222"/>
                  </a:lnTo>
                  <a:lnTo>
                    <a:pt x="99" y="214"/>
                  </a:lnTo>
                  <a:lnTo>
                    <a:pt x="99" y="206"/>
                  </a:lnTo>
                  <a:lnTo>
                    <a:pt x="101" y="177"/>
                  </a:lnTo>
                  <a:lnTo>
                    <a:pt x="107" y="151"/>
                  </a:lnTo>
                  <a:lnTo>
                    <a:pt x="115" y="130"/>
                  </a:lnTo>
                  <a:lnTo>
                    <a:pt x="121" y="121"/>
                  </a:lnTo>
                  <a:lnTo>
                    <a:pt x="126" y="114"/>
                  </a:lnTo>
                  <a:lnTo>
                    <a:pt x="134" y="106"/>
                  </a:lnTo>
                  <a:lnTo>
                    <a:pt x="141" y="101"/>
                  </a:lnTo>
                  <a:lnTo>
                    <a:pt x="149" y="95"/>
                  </a:lnTo>
                  <a:lnTo>
                    <a:pt x="158" y="92"/>
                  </a:lnTo>
                  <a:lnTo>
                    <a:pt x="177" y="87"/>
                  </a:lnTo>
                  <a:lnTo>
                    <a:pt x="198" y="85"/>
                  </a:lnTo>
                  <a:lnTo>
                    <a:pt x="260" y="85"/>
                  </a:lnTo>
                  <a:lnTo>
                    <a:pt x="260" y="327"/>
                  </a:lnTo>
                  <a:close/>
                  <a:moveTo>
                    <a:pt x="518" y="262"/>
                  </a:moveTo>
                  <a:lnTo>
                    <a:pt x="516" y="270"/>
                  </a:lnTo>
                  <a:lnTo>
                    <a:pt x="512" y="276"/>
                  </a:lnTo>
                  <a:lnTo>
                    <a:pt x="508" y="283"/>
                  </a:lnTo>
                  <a:lnTo>
                    <a:pt x="505" y="289"/>
                  </a:lnTo>
                  <a:lnTo>
                    <a:pt x="500" y="295"/>
                  </a:lnTo>
                  <a:lnTo>
                    <a:pt x="495" y="300"/>
                  </a:lnTo>
                  <a:lnTo>
                    <a:pt x="489" y="305"/>
                  </a:lnTo>
                  <a:lnTo>
                    <a:pt x="484" y="310"/>
                  </a:lnTo>
                  <a:lnTo>
                    <a:pt x="477" y="314"/>
                  </a:lnTo>
                  <a:lnTo>
                    <a:pt x="470" y="317"/>
                  </a:lnTo>
                  <a:lnTo>
                    <a:pt x="462" y="320"/>
                  </a:lnTo>
                  <a:lnTo>
                    <a:pt x="453" y="322"/>
                  </a:lnTo>
                  <a:lnTo>
                    <a:pt x="433" y="326"/>
                  </a:lnTo>
                  <a:lnTo>
                    <a:pt x="409" y="327"/>
                  </a:lnTo>
                  <a:lnTo>
                    <a:pt x="363" y="327"/>
                  </a:lnTo>
                  <a:lnTo>
                    <a:pt x="363" y="85"/>
                  </a:lnTo>
                  <a:lnTo>
                    <a:pt x="425" y="85"/>
                  </a:lnTo>
                  <a:lnTo>
                    <a:pt x="446" y="87"/>
                  </a:lnTo>
                  <a:lnTo>
                    <a:pt x="465" y="92"/>
                  </a:lnTo>
                  <a:lnTo>
                    <a:pt x="474" y="95"/>
                  </a:lnTo>
                  <a:lnTo>
                    <a:pt x="482" y="101"/>
                  </a:lnTo>
                  <a:lnTo>
                    <a:pt x="489" y="106"/>
                  </a:lnTo>
                  <a:lnTo>
                    <a:pt x="497" y="114"/>
                  </a:lnTo>
                  <a:lnTo>
                    <a:pt x="503" y="121"/>
                  </a:lnTo>
                  <a:lnTo>
                    <a:pt x="508" y="130"/>
                  </a:lnTo>
                  <a:lnTo>
                    <a:pt x="517" y="151"/>
                  </a:lnTo>
                  <a:lnTo>
                    <a:pt x="522" y="177"/>
                  </a:lnTo>
                  <a:lnTo>
                    <a:pt x="524" y="206"/>
                  </a:lnTo>
                  <a:lnTo>
                    <a:pt x="524" y="214"/>
                  </a:lnTo>
                  <a:lnTo>
                    <a:pt x="524" y="222"/>
                  </a:lnTo>
                  <a:lnTo>
                    <a:pt x="523" y="229"/>
                  </a:lnTo>
                  <a:lnTo>
                    <a:pt x="523" y="237"/>
                  </a:lnTo>
                  <a:lnTo>
                    <a:pt x="522" y="243"/>
                  </a:lnTo>
                  <a:lnTo>
                    <a:pt x="522" y="251"/>
                  </a:lnTo>
                  <a:lnTo>
                    <a:pt x="520" y="256"/>
                  </a:lnTo>
                  <a:lnTo>
                    <a:pt x="518" y="262"/>
                  </a:lnTo>
                  <a:lnTo>
                    <a:pt x="518" y="264"/>
                  </a:lnTo>
                  <a:lnTo>
                    <a:pt x="518" y="265"/>
                  </a:lnTo>
                  <a:lnTo>
                    <a:pt x="518" y="264"/>
                  </a:lnTo>
                  <a:lnTo>
                    <a:pt x="518" y="264"/>
                  </a:lnTo>
                  <a:lnTo>
                    <a:pt x="518" y="262"/>
                  </a:lnTo>
                  <a:lnTo>
                    <a:pt x="519" y="262"/>
                  </a:lnTo>
                  <a:lnTo>
                    <a:pt x="518" y="2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26" name="Picture 5" descr="C:\Users\EAMEJIA\Desktop\Duckson\PNG Elements\controls.png">
            <a:hlinkClick r:id="" action="ppaction://hlinkshowjump?jump=nextslide"/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22614" y="6426329"/>
            <a:ext cx="69314" cy="171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90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17" r:id="rId2"/>
    <p:sldLayoutId id="2147483718" r:id="rId3"/>
    <p:sldLayoutId id="2147483716" r:id="rId4"/>
    <p:sldLayoutId id="2147483711" r:id="rId5"/>
    <p:sldLayoutId id="2147483719" r:id="rId6"/>
    <p:sldLayoutId id="2147483726" r:id="rId7"/>
    <p:sldLayoutId id="2147483725" r:id="rId8"/>
    <p:sldLayoutId id="2147483727" r:id="rId9"/>
    <p:sldLayoutId id="2147483715" r:id="rId10"/>
    <p:sldLayoutId id="214748372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72866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85725" indent="-85725" algn="l" defTabSz="1072866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269875" indent="-92075" algn="l" defTabSz="1072866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627063" indent="-103188" algn="l" defTabSz="1072866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989013" indent="-92075" algn="l" defTabSz="1072866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436688" indent="-92075" algn="l" defTabSz="1072866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/>
        <a:buChar char="•"/>
        <a:defRPr sz="12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4955491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 txBox="1">
            <a:spLocks/>
          </p:cNvSpPr>
          <p:nvPr/>
        </p:nvSpPr>
        <p:spPr bwMode="auto">
          <a:xfrm>
            <a:off x="272480" y="1988843"/>
            <a:ext cx="936104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4400"/>
            <a:r>
              <a:rPr lang="en-US" sz="3200" kern="0" dirty="0" smtClean="0">
                <a:solidFill>
                  <a:srgbClr val="FFFFFF"/>
                </a:solidFill>
              </a:rPr>
              <a:t>Click to edit Master text styles</a:t>
            </a:r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72480" y="0"/>
            <a:ext cx="7566841" cy="987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2"/>
          </p:nvPr>
        </p:nvSpPr>
        <p:spPr>
          <a:xfrm>
            <a:off x="272480" y="6326209"/>
            <a:ext cx="312034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pPr defTabSz="914400"/>
            <a:fld id="{4E8ED4FF-BEFF-4E8C-9E0D-A4F30E895938}" type="datetimeFigureOut">
              <a:rPr lang="ru-RU" smtClean="0">
                <a:solidFill>
                  <a:srgbClr val="808080"/>
                </a:solidFill>
              </a:rPr>
              <a:pPr defTabSz="914400"/>
              <a:t>28.08.2018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272481" y="6609651"/>
            <a:ext cx="31369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pPr defTabSz="914400"/>
            <a:endParaRPr lang="ru-RU">
              <a:solidFill>
                <a:srgbClr val="80808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7322120" y="6586860"/>
            <a:ext cx="23114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defTabSz="914400"/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 defTabSz="914400"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pic>
        <p:nvPicPr>
          <p:cNvPr id="11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840" y="191585"/>
            <a:ext cx="2144688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Прямая соединительная линия 12"/>
          <p:cNvCxnSpPr/>
          <p:nvPr/>
        </p:nvCxnSpPr>
        <p:spPr>
          <a:xfrm>
            <a:off x="9784" y="1023101"/>
            <a:ext cx="9882600" cy="0"/>
          </a:xfrm>
          <a:prstGeom prst="line">
            <a:avLst/>
          </a:prstGeom>
          <a:ln w="19050" cap="sq" cmpd="sng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8256" y="987092"/>
            <a:ext cx="9882600" cy="0"/>
          </a:xfrm>
          <a:prstGeom prst="line">
            <a:avLst/>
          </a:prstGeom>
          <a:ln w="28575" cap="sq" cmpd="sng">
            <a:solidFill>
              <a:srgbClr val="0F8406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1527" y="6609538"/>
            <a:ext cx="9906000" cy="0"/>
          </a:xfrm>
          <a:prstGeom prst="line">
            <a:avLst/>
          </a:prstGeom>
          <a:ln w="12700" cap="sq" cmpd="sng">
            <a:solidFill>
              <a:schemeClr val="accent2">
                <a:lumMod val="75000"/>
              </a:scheme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1527" y="6586857"/>
            <a:ext cx="9906000" cy="0"/>
          </a:xfrm>
          <a:prstGeom prst="line">
            <a:avLst/>
          </a:prstGeom>
          <a:ln w="12700" cap="sq" cmpd="sng">
            <a:solidFill>
              <a:srgbClr val="0F8406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272480" y="1268760"/>
            <a:ext cx="9361040" cy="5040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1450">
              <a:buNone/>
            </a:pPr>
            <a:r>
              <a:rPr lang="ru-RU" kern="0" dirty="0" smtClean="0"/>
              <a:t>Образец текста</a:t>
            </a:r>
          </a:p>
          <a:p>
            <a:pPr marL="531813" lvl="1" indent="-171450"/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Второй уровень</a:t>
            </a:r>
          </a:p>
          <a:p>
            <a:pPr marL="709613" lvl="2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Третий уровень</a:t>
            </a:r>
          </a:p>
          <a:p>
            <a:pPr marL="1166813" lvl="3" indent="-171450">
              <a:buSzPct val="100000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Четвертый уровень</a:t>
            </a:r>
          </a:p>
          <a:p>
            <a:pPr marL="1624013" lvl="4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Пятый уровень</a:t>
            </a:r>
            <a:endParaRPr lang="ru-RU" kern="0" dirty="0">
              <a:solidFill>
                <a:srgbClr val="01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8865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2">
              <a:lumMod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61950" indent="-1714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SzPct val="100000"/>
        <a:buChar char="‣"/>
        <a:defRPr sz="1200" b="1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10000"/>
        <a:buFont typeface="Arial" pitchFamily="34" charset="0"/>
        <a:buChar char="•"/>
        <a:defRPr sz="1000">
          <a:solidFill>
            <a:schemeClr val="tx1"/>
          </a:solidFill>
          <a:latin typeface="+mn-lt"/>
        </a:defRPr>
      </a:lvl2pPr>
      <a:lvl3pPr marL="709613" indent="-1714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10000"/>
        <a:buFont typeface="Courier New" pitchFamily="49" charset="0"/>
        <a:buChar char="o"/>
        <a:defRPr sz="1000">
          <a:solidFill>
            <a:schemeClr val="tx1"/>
          </a:solidFill>
          <a:latin typeface="+mn-lt"/>
        </a:defRPr>
      </a:lvl4pPr>
      <a:lvl5pPr marL="1624013" indent="-17145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png"/><Relationship Id="rId5" Type="http://schemas.microsoft.com/office/2007/relationships/hdphoto" Target="../media/hdphoto3.wdp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7177" y="635445"/>
            <a:ext cx="7234441" cy="3158342"/>
          </a:xfrm>
        </p:spPr>
        <p:txBody>
          <a:bodyPr anchor="ctr"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ru-RU" sz="2400" dirty="0"/>
          </a:p>
        </p:txBody>
      </p:sp>
      <p:sp>
        <p:nvSpPr>
          <p:cNvPr id="5" name="Подзаголовок 2"/>
          <p:cNvSpPr txBox="1">
            <a:spLocks/>
          </p:cNvSpPr>
          <p:nvPr/>
        </p:nvSpPr>
        <p:spPr>
          <a:xfrm>
            <a:off x="517177" y="4395077"/>
            <a:ext cx="4647106" cy="904148"/>
          </a:xfrm>
          <a:prstGeom prst="rect">
            <a:avLst/>
          </a:prstGeom>
        </p:spPr>
        <p:txBody>
          <a:bodyPr vert="horz" lIns="0" tIns="53643" rIns="107287" bIns="53643" rtlCol="0">
            <a:normAutofit fontScale="92500"/>
          </a:bodyPr>
          <a:lstStyle>
            <a:lvl1pPr marL="0" indent="0" algn="l" defTabSz="107286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sz="12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6433" indent="0" algn="ctr" defTabSz="107286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72866" indent="0" algn="ctr" defTabSz="107286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9298" indent="0" algn="ctr" defTabSz="107286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145731" indent="0" algn="ctr" defTabSz="107286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None/>
              <a:defRPr sz="12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682164" indent="0" algn="ctr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218597" indent="0" algn="ctr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755029" indent="0" algn="ctr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291462" indent="0" algn="ctr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/>
              <a:t>Вадим Кузьмин </a:t>
            </a:r>
            <a:r>
              <a:rPr lang="ru-RU" i="1" dirty="0"/>
              <a:t/>
            </a:r>
            <a:br>
              <a:rPr lang="ru-RU" i="1" dirty="0"/>
            </a:br>
            <a:r>
              <a:rPr lang="ru-RU" i="1" dirty="0" smtClean="0"/>
              <a:t>Советник практики «Антимонопольное право и закупки»</a:t>
            </a:r>
            <a:endParaRPr lang="ru-RU" dirty="0" smtClean="0"/>
          </a:p>
          <a:p>
            <a:r>
              <a:rPr lang="ru-RU" dirty="0" smtClean="0"/>
              <a:t>2017г. </a:t>
            </a:r>
          </a:p>
          <a:p>
            <a:endParaRPr lang="ru-RU" i="1" dirty="0" smtClean="0"/>
          </a:p>
          <a:p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162228" y="811850"/>
            <a:ext cx="5623133" cy="2606468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</a:rPr>
              <a:t>Подходы органов контроля и надзора к реализации </a:t>
            </a:r>
            <a:r>
              <a:rPr lang="ru-RU" sz="2800" b="1" dirty="0" err="1" smtClean="0">
                <a:solidFill>
                  <a:schemeClr val="accent5">
                    <a:lumMod val="75000"/>
                  </a:schemeClr>
                </a:solidFill>
              </a:rPr>
              <a:t>комплаенс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</a:rPr>
              <a:t>-системы в организации</a:t>
            </a:r>
          </a:p>
        </p:txBody>
      </p:sp>
    </p:spTree>
    <p:extLst>
      <p:ext uri="{BB962C8B-B14F-4D97-AF65-F5344CB8AC3E}">
        <p14:creationId xmlns:p14="http://schemas.microsoft.com/office/powerpoint/2010/main" val="381515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Цели внедрения </a:t>
            </a:r>
            <a:r>
              <a:rPr lang="ru-RU" dirty="0" err="1" smtClean="0"/>
              <a:t>комплаенс</a:t>
            </a:r>
            <a:r>
              <a:rPr lang="ru-RU" dirty="0" smtClean="0"/>
              <a:t> в организац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2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2000"/>
                    </a14:imgEffect>
                    <a14:imgEffect>
                      <a14:colorTemperature colorTemp="7155"/>
                    </a14:imgEffect>
                    <a14:imgEffect>
                      <a14:saturation sat="68000"/>
                    </a14:imgEffect>
                    <a14:imgEffect>
                      <a14:brightnessContrast bright="9000" contrast="2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38" r="18158"/>
          <a:stretch/>
        </p:blipFill>
        <p:spPr>
          <a:xfrm>
            <a:off x="7302430" y="831844"/>
            <a:ext cx="2520280" cy="2076648"/>
          </a:xfrm>
          <a:prstGeom prst="rect">
            <a:avLst/>
          </a:prstGeom>
          <a:effectLst>
            <a:glow rad="127000">
              <a:schemeClr val="accent1">
                <a:alpha val="0"/>
              </a:schemeClr>
            </a:glow>
          </a:effectLst>
        </p:spPr>
      </p:pic>
      <p:sp>
        <p:nvSpPr>
          <p:cNvPr id="6" name="TextBox 5"/>
          <p:cNvSpPr txBox="1"/>
          <p:nvPr/>
        </p:nvSpPr>
        <p:spPr>
          <a:xfrm>
            <a:off x="700755" y="1162228"/>
            <a:ext cx="6601675" cy="3794333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accent4">
                    <a:lumMod val="75000"/>
                  </a:schemeClr>
                </a:solidFill>
              </a:rPr>
              <a:t>Повышение уровня знания законодательства и эффективность его применения;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accent4">
                    <a:lumMod val="75000"/>
                  </a:schemeClr>
                </a:solidFill>
              </a:rPr>
              <a:t>Снижение числа правонарушений;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accent4">
                    <a:lumMod val="75000"/>
                  </a:schemeClr>
                </a:solidFill>
              </a:rPr>
              <a:t>Снижение </a:t>
            </a:r>
            <a:r>
              <a:rPr lang="ru-RU" sz="1400" b="1" dirty="0" err="1" smtClean="0">
                <a:solidFill>
                  <a:schemeClr val="accent4">
                    <a:lumMod val="75000"/>
                  </a:schemeClr>
                </a:solidFill>
              </a:rPr>
              <a:t>репутационных</a:t>
            </a:r>
            <a:r>
              <a:rPr lang="ru-RU" sz="1400" b="1" dirty="0" smtClean="0">
                <a:solidFill>
                  <a:schemeClr val="accent4">
                    <a:lumMod val="75000"/>
                  </a:schemeClr>
                </a:solidFill>
              </a:rPr>
              <a:t> рисков;</a:t>
            </a:r>
          </a:p>
          <a:p>
            <a:pPr>
              <a:lnSpc>
                <a:spcPct val="200000"/>
              </a:lnSpc>
            </a:pPr>
            <a:endParaRPr lang="ru-RU" sz="5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accent4">
                    <a:lumMod val="75000"/>
                  </a:schemeClr>
                </a:solidFill>
              </a:rPr>
              <a:t>Предотвращение финансовых потерь вследствие административных и (или) судебных разбирательств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8564" y="3700329"/>
            <a:ext cx="8904718" cy="2444097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ru-RU" sz="1400" dirty="0" smtClean="0"/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ru-RU" sz="1400" dirty="0"/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ru-RU" sz="1400" dirty="0" smtClean="0"/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ru-RU" sz="1400" dirty="0"/>
          </a:p>
          <a:p>
            <a:pPr marL="0" indent="0" algn="ctr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о стороны контрольно-надзорных органов эффективно функционирующая в организации </a:t>
            </a:r>
            <a:r>
              <a:rPr lang="ru-RU" sz="1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омплаенс</a:t>
            </a: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система означает снижение нагрузки и числа возбужденных дел по выявленным нарушениям </a:t>
            </a:r>
          </a:p>
        </p:txBody>
      </p:sp>
    </p:spTree>
    <p:extLst>
      <p:ext uri="{BB962C8B-B14F-4D97-AF65-F5344CB8AC3E}">
        <p14:creationId xmlns:p14="http://schemas.microsoft.com/office/powerpoint/2010/main" val="1855190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пыт внедрения </a:t>
            </a:r>
            <a:r>
              <a:rPr lang="ru-RU" dirty="0" err="1" smtClean="0"/>
              <a:t>комплаенс</a:t>
            </a:r>
            <a:r>
              <a:rPr lang="ru-RU" dirty="0" smtClean="0"/>
              <a:t> в ПАО «МегаФон»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3</a:t>
            </a:fld>
            <a:endParaRPr lang="ru-RU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336698" y="965675"/>
            <a:ext cx="8986764" cy="4768553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285750" indent="-285750">
              <a:lnSpc>
                <a:spcPct val="200000"/>
              </a:lnSpc>
              <a:buSzPct val="150000"/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Утверждены соответствующие политики</a:t>
            </a:r>
          </a:p>
          <a:p>
            <a:pPr marL="285750" indent="-285750">
              <a:lnSpc>
                <a:spcPct val="200000"/>
              </a:lnSpc>
              <a:buSzPct val="150000"/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Проводится обучение сотрудников и тренинги руководителей</a:t>
            </a:r>
          </a:p>
          <a:p>
            <a:pPr marL="285750" indent="-285750">
              <a:lnSpc>
                <a:spcPct val="200000"/>
              </a:lnSpc>
              <a:buSzPct val="150000"/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Назначены ответственные должностные лиц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8564" y="2666288"/>
            <a:ext cx="8844898" cy="3332860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0" indent="0" algn="just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b="1" dirty="0" smtClean="0"/>
              <a:t>Принцип реализации </a:t>
            </a:r>
            <a:r>
              <a:rPr lang="ru-RU" sz="1400" b="1" dirty="0" err="1" smtClean="0"/>
              <a:t>комплаенс</a:t>
            </a:r>
            <a:r>
              <a:rPr lang="ru-RU" sz="1400" b="1" dirty="0" smtClean="0"/>
              <a:t> в ПАО «МегаФон» - автоматизация накопленных знаний и опыта юридической экспертизы, перевод опыта в цифровой интерфейс.</a:t>
            </a:r>
          </a:p>
          <a:p>
            <a:pPr marL="0" indent="0" algn="just">
              <a:lnSpc>
                <a:spcPct val="110000"/>
              </a:lnSpc>
              <a:buFont typeface="Arial" panose="020B0604020202020204" pitchFamily="34" charset="0"/>
              <a:buNone/>
            </a:pPr>
            <a:endParaRPr lang="ru-RU" sz="1400" b="1" dirty="0"/>
          </a:p>
          <a:p>
            <a:pPr marL="0" indent="0" algn="just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b="1" dirty="0" smtClean="0"/>
              <a:t>Автоматизация рутинных задач юриста позволяет существенно сократить издержки на совершение юридических операций, увеличить необходимое для осуществления экспертизы время, переключиться на работу над </a:t>
            </a:r>
            <a:r>
              <a:rPr lang="ru-RU" sz="1400" b="1" dirty="0" err="1" smtClean="0"/>
              <a:t>бутиковыми</a:t>
            </a:r>
            <a:r>
              <a:rPr lang="ru-RU" sz="1400" b="1" dirty="0" smtClean="0"/>
              <a:t> решениями.</a:t>
            </a:r>
          </a:p>
          <a:p>
            <a:pPr marL="0" indent="0" algn="just">
              <a:lnSpc>
                <a:spcPct val="110000"/>
              </a:lnSpc>
              <a:buFont typeface="Arial" panose="020B0604020202020204" pitchFamily="34" charset="0"/>
              <a:buNone/>
            </a:pPr>
            <a:endParaRPr lang="ru-RU" sz="1400" b="1" dirty="0"/>
          </a:p>
          <a:p>
            <a:pPr marL="0" indent="0" algn="just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b="1" dirty="0" smtClean="0"/>
              <a:t>Внедрение </a:t>
            </a:r>
            <a:r>
              <a:rPr lang="en-US" sz="1400" b="1" dirty="0" smtClean="0"/>
              <a:t>LegalTech </a:t>
            </a:r>
            <a:r>
              <a:rPr lang="ru-RU" sz="1400" b="1" dirty="0" smtClean="0"/>
              <a:t>решений – новый вид работы для юриста, гораздо более содержательный и приносящий пользу компании.  </a:t>
            </a:r>
          </a:p>
        </p:txBody>
      </p:sp>
    </p:spTree>
    <p:extLst>
      <p:ext uri="{BB962C8B-B14F-4D97-AF65-F5344CB8AC3E}">
        <p14:creationId xmlns:p14="http://schemas.microsoft.com/office/powerpoint/2010/main" val="66276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нижение ответственности при внедрении </a:t>
            </a:r>
            <a:r>
              <a:rPr lang="ru-RU" dirty="0" err="1" smtClean="0"/>
              <a:t>комплаенс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4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8511" y="957129"/>
            <a:ext cx="9220050" cy="5332576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algn="just">
              <a:lnSpc>
                <a:spcPct val="110000"/>
              </a:lnSpc>
            </a:pPr>
            <a:r>
              <a:rPr lang="ru-RU" sz="1400" dirty="0">
                <a:solidFill>
                  <a:schemeClr val="accent4">
                    <a:lumMod val="50000"/>
                  </a:schemeClr>
                </a:solidFill>
              </a:rPr>
              <a:t>При назначении административного наказания за совершение административного правонарушения, предусмотренного </a:t>
            </a: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</a:rPr>
              <a:t>статьями 14.31, 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</a:rPr>
              <a:t>14.31.2 или 14.33 </a:t>
            </a: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</a:rPr>
              <a:t>КоАП РФ, 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</a:rPr>
              <a:t>в отношении юридического лица учитываются обстоятельства, смягчающие административную ответственность, предусмотренные </a:t>
            </a:r>
            <a:r>
              <a:rPr lang="ru-RU" sz="1400" u="sng" dirty="0">
                <a:solidFill>
                  <a:schemeClr val="accent4">
                    <a:lumMod val="50000"/>
                  </a:schemeClr>
                </a:solidFill>
              </a:rPr>
              <a:t>пунктами 2 - 7 части 1 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</a:rPr>
              <a:t>статьи 4.2 </a:t>
            </a: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</a:rPr>
              <a:t>КоАП РФ.</a:t>
            </a:r>
          </a:p>
          <a:p>
            <a:pPr algn="just">
              <a:lnSpc>
                <a:spcPct val="110000"/>
              </a:lnSpc>
            </a:pPr>
            <a:endParaRPr lang="ru-RU" sz="1400" dirty="0">
              <a:solidFill>
                <a:schemeClr val="accent4">
                  <a:lumMod val="50000"/>
                </a:schemeClr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Аналогичное положение предусмотрено статьей 14.32 КоАП, за исключением расширения применения института смягчающих обстоятельств следующими случаями: </a:t>
            </a:r>
          </a:p>
          <a:p>
            <a:pPr algn="just"/>
            <a:endParaRPr lang="ru-RU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1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) лицо, совершившее административное правонарушение, не является организатором ограничивающих конкуренцию соглашения или согласованных действий и (или) получило обязательные для исполнения указания участвовать в них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;</a:t>
            </a:r>
          </a:p>
          <a:p>
            <a:pPr algn="just"/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2) лицо, совершившее административное правонарушение, не приступило к исполнению заключенного им ограничивающего конкуренцию соглашения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  <a:t>Однако:</a:t>
            </a:r>
            <a:endParaRPr lang="ru-RU" sz="1400" b="1" dirty="0">
              <a:solidFill>
                <a:schemeClr val="accent5">
                  <a:lumMod val="50000"/>
                </a:schemeClr>
              </a:solidFill>
            </a:endParaRPr>
          </a:p>
          <a:p>
            <a:pPr algn="just">
              <a:lnSpc>
                <a:spcPct val="110000"/>
              </a:lnSpc>
            </a:pPr>
            <a:endParaRPr lang="ru-RU" sz="1400" dirty="0" smtClean="0"/>
          </a:p>
          <a:p>
            <a:pPr algn="just">
              <a:lnSpc>
                <a:spcPct val="110000"/>
              </a:lnSpc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Судья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, орган, должностное лицо, рассматривающие дело об административном правонарушении, могут признать смягчающими обстоятельства, не указанные в настоящем Кодексе или в законах субъектов Российской Федерации об административных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правонарушениях (часть 2 статьи 4.2 КоАП РФ).</a:t>
            </a:r>
            <a:endParaRPr lang="ru-RU" sz="1400" dirty="0">
              <a:solidFill>
                <a:schemeClr val="accent1">
                  <a:lumMod val="50000"/>
                </a:schemeClr>
              </a:solidFill>
            </a:endParaRPr>
          </a:p>
          <a:p>
            <a:pPr algn="just">
              <a:lnSpc>
                <a:spcPct val="110000"/>
              </a:lnSpc>
            </a:pPr>
            <a:endParaRPr lang="ru-RU" sz="1400" dirty="0" smtClean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910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нижение ответственности при внедрении </a:t>
            </a:r>
            <a:r>
              <a:rPr lang="ru-RU" dirty="0" err="1"/>
              <a:t>комплаенс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5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36" y="3144851"/>
            <a:ext cx="4773559" cy="3713147"/>
          </a:xfrm>
          <a:prstGeom prst="rect">
            <a:avLst/>
          </a:prstGeom>
        </p:spPr>
      </p:pic>
      <p:sp>
        <p:nvSpPr>
          <p:cNvPr id="5" name="Овальная выноска 4"/>
          <p:cNvSpPr/>
          <p:nvPr/>
        </p:nvSpPr>
        <p:spPr>
          <a:xfrm>
            <a:off x="3108146" y="2796475"/>
            <a:ext cx="1580972" cy="683663"/>
          </a:xfrm>
          <a:prstGeom prst="wedgeEllipseCallout">
            <a:avLst>
              <a:gd name="adj1" fmla="val -54347"/>
              <a:gd name="adj2" fmla="val 4625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138056" y="2943800"/>
            <a:ext cx="1521151" cy="598205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 fontScale="77500" lnSpcReduction="20000"/>
          </a:bodyPr>
          <a:lstStyle/>
          <a:p>
            <a:pPr marL="0" indent="0" algn="ctr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dirty="0" smtClean="0"/>
              <a:t>А если начальник не поймет?</a:t>
            </a:r>
          </a:p>
        </p:txBody>
      </p:sp>
      <p:sp>
        <p:nvSpPr>
          <p:cNvPr id="7" name="Овальная выноска 6"/>
          <p:cNvSpPr/>
          <p:nvPr/>
        </p:nvSpPr>
        <p:spPr>
          <a:xfrm>
            <a:off x="308511" y="2358638"/>
            <a:ext cx="1768980" cy="914400"/>
          </a:xfrm>
          <a:prstGeom prst="wedgeEllipseCallout">
            <a:avLst>
              <a:gd name="adj1" fmla="val 60846"/>
              <a:gd name="adj2" fmla="val 72781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544737" y="2477187"/>
            <a:ext cx="1583167" cy="700755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 fontScale="92500" lnSpcReduction="20000"/>
          </a:bodyPr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dirty="0" smtClean="0"/>
              <a:t>А вдруг прокурор придерется?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74221" y="5375305"/>
            <a:ext cx="3290130" cy="752030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0" indent="0" algn="ctr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dirty="0" smtClean="0"/>
              <a:t>ШТРАФ</a:t>
            </a:r>
          </a:p>
        </p:txBody>
      </p:sp>
      <p:sp>
        <p:nvSpPr>
          <p:cNvPr id="10" name="Овальная выноска 9"/>
          <p:cNvSpPr/>
          <p:nvPr/>
        </p:nvSpPr>
        <p:spPr>
          <a:xfrm>
            <a:off x="2811568" y="1606223"/>
            <a:ext cx="1985116" cy="878033"/>
          </a:xfrm>
          <a:prstGeom prst="wedgeEllipseCallout">
            <a:avLst>
              <a:gd name="adj1" fmla="val -46662"/>
              <a:gd name="adj2" fmla="val 130983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2903047" y="1749617"/>
            <a:ext cx="1786071" cy="632389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 fontScale="85000" lnSpcReduction="10000"/>
          </a:bodyPr>
          <a:lstStyle/>
          <a:p>
            <a:pPr marL="0" indent="0" algn="ctr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dirty="0" smtClean="0"/>
              <a:t>А это малозначительно?</a:t>
            </a:r>
          </a:p>
        </p:txBody>
      </p:sp>
      <p:sp>
        <p:nvSpPr>
          <p:cNvPr id="12" name="Овальная выноска 11"/>
          <p:cNvSpPr/>
          <p:nvPr/>
        </p:nvSpPr>
        <p:spPr>
          <a:xfrm>
            <a:off x="757565" y="1192500"/>
            <a:ext cx="2008263" cy="760576"/>
          </a:xfrm>
          <a:prstGeom prst="wedgeEllipseCallout">
            <a:avLst>
              <a:gd name="adj1" fmla="val 40444"/>
              <a:gd name="adj2" fmla="val 214185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1058937" y="1314161"/>
            <a:ext cx="1645065" cy="721120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dirty="0" err="1" smtClean="0"/>
              <a:t>Комплаенс</a:t>
            </a:r>
            <a:r>
              <a:rPr lang="ru-RU" sz="1400" dirty="0" smtClean="0"/>
              <a:t>?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dirty="0" smtClean="0"/>
              <a:t>-не слышал.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110385" y="1085316"/>
            <a:ext cx="4469451" cy="4007977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0" indent="0" algn="just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b="1" dirty="0" smtClean="0"/>
              <a:t>ПАО «МегаФон» не известны случаи снижения в Российской Федерации ответственности в части применения института смягчающих обстоятельств при наличии в организации функционирующей </a:t>
            </a:r>
            <a:r>
              <a:rPr lang="ru-RU" sz="1400" b="1" dirty="0" err="1" smtClean="0"/>
              <a:t>комплаенс</a:t>
            </a:r>
            <a:r>
              <a:rPr lang="ru-RU" sz="1400" b="1" dirty="0" smtClean="0"/>
              <a:t>-системы</a:t>
            </a:r>
          </a:p>
        </p:txBody>
      </p:sp>
    </p:spTree>
    <p:extLst>
      <p:ext uri="{BB962C8B-B14F-4D97-AF65-F5344CB8AC3E}">
        <p14:creationId xmlns:p14="http://schemas.microsoft.com/office/powerpoint/2010/main" val="273387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err="1" smtClean="0"/>
              <a:t>Комплаенс</a:t>
            </a:r>
            <a:r>
              <a:rPr lang="ru-RU" dirty="0" smtClean="0"/>
              <a:t> в антимонопольном законодательств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6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75118" y="1085316"/>
            <a:ext cx="6358071" cy="2298819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marL="0" indent="0" algn="just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ru-RU" sz="1400" b="1" dirty="0" smtClean="0">
                <a:solidFill>
                  <a:schemeClr val="accent4">
                    <a:lumMod val="50000"/>
                  </a:schemeClr>
                </a:solidFill>
              </a:rPr>
              <a:t>ФАС России подготовлен законопроект о внесении изменений в Закон о защите конкуренции и Кодекс Российской Федерации об административных правонарушениях, предусматривающий закрепление функционирующей </a:t>
            </a:r>
            <a:r>
              <a:rPr lang="ru-RU" sz="1400" b="1" dirty="0" err="1" smtClean="0">
                <a:solidFill>
                  <a:schemeClr val="accent4">
                    <a:lumMod val="50000"/>
                  </a:schemeClr>
                </a:solidFill>
              </a:rPr>
              <a:t>комплаенс</a:t>
            </a:r>
            <a:r>
              <a:rPr lang="ru-RU" sz="1400" b="1" dirty="0" smtClean="0">
                <a:solidFill>
                  <a:schemeClr val="accent4">
                    <a:lumMod val="50000"/>
                  </a:schemeClr>
                </a:solidFill>
              </a:rPr>
              <a:t>-системы организации в качестве обстоятельства, смягчающего административную ответственность за нарушения антимонопольного законодательства.</a:t>
            </a:r>
          </a:p>
          <a:p>
            <a:pPr marL="0" indent="0" algn="just">
              <a:lnSpc>
                <a:spcPct val="110000"/>
              </a:lnSpc>
              <a:buFont typeface="Arial" panose="020B0604020202020204" pitchFamily="34" charset="0"/>
              <a:buNone/>
            </a:pPr>
            <a:endParaRPr lang="ru-RU" sz="14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75118" y="3837062"/>
            <a:ext cx="8588523" cy="1862983"/>
          </a:xfrm>
          <a:prstGeom prst="rect">
            <a:avLst/>
          </a:prstGeom>
        </p:spPr>
        <p:txBody>
          <a:bodyPr vert="horz" wrap="square" lIns="107287" tIns="53643" rIns="107287" bIns="53643" rtlCol="0">
            <a:normAutofit/>
          </a:bodyPr>
          <a:lstStyle/>
          <a:p>
            <a:pPr algn="just">
              <a:lnSpc>
                <a:spcPct val="110000"/>
              </a:lnSpc>
            </a:pPr>
            <a:r>
              <a:rPr lang="ru-RU" sz="1400" b="1" dirty="0">
                <a:solidFill>
                  <a:schemeClr val="accent4">
                    <a:lumMod val="50000"/>
                  </a:schemeClr>
                </a:solidFill>
              </a:rPr>
              <a:t>Более того, по заявлениям должностных лиц антимонопольного органа, ФАС готов отказаться от плановых проверок организаций, внедривших антимонопольный </a:t>
            </a:r>
            <a:r>
              <a:rPr lang="ru-RU" sz="1400" b="1" dirty="0" err="1">
                <a:solidFill>
                  <a:schemeClr val="accent4">
                    <a:lumMod val="50000"/>
                  </a:schemeClr>
                </a:solidFill>
              </a:rPr>
              <a:t>комплаенс</a:t>
            </a:r>
            <a:r>
              <a:rPr lang="ru-RU" sz="1400" b="1" dirty="0">
                <a:solidFill>
                  <a:schemeClr val="accent4">
                    <a:lumMod val="50000"/>
                  </a:schemeClr>
                </a:solidFill>
              </a:rPr>
              <a:t>, в рамках проводимой реформы контрольно-надзорной деятельности.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ru-RU" sz="1400" dirty="0" smtClean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189" y="1154152"/>
            <a:ext cx="2512463" cy="1637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585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349" r="26375" b="11653"/>
          <a:stretch/>
        </p:blipFill>
        <p:spPr>
          <a:xfrm>
            <a:off x="5940152" y="5085184"/>
            <a:ext cx="2024528" cy="147030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рубежный опыт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4B9D29-276B-41D1-A5C3-9487359474BF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7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3528" y="1075207"/>
            <a:ext cx="6048672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800" b="1" dirty="0" smtClean="0">
                <a:latin typeface="Cambria" panose="02040503050406030204" pitchFamily="18" charset="0"/>
              </a:rPr>
              <a:t>ЕВРОПА</a:t>
            </a:r>
            <a:r>
              <a:rPr lang="ru-RU" sz="1800" dirty="0" smtClean="0">
                <a:latin typeface="Cambria" panose="02040503050406030204" pitchFamily="18" charset="0"/>
              </a:rPr>
              <a:t>:</a:t>
            </a:r>
          </a:p>
          <a:p>
            <a:pPr lvl="0"/>
            <a:r>
              <a:rPr lang="ru-RU" sz="1800" i="1" dirty="0" smtClean="0">
                <a:latin typeface="Cambria" panose="02040503050406030204" pitchFamily="18" charset="0"/>
              </a:rPr>
              <a:t>Возможность </a:t>
            </a:r>
            <a:r>
              <a:rPr lang="ru-RU" sz="1800" dirty="0" smtClean="0">
                <a:latin typeface="Cambria" panose="02040503050406030204" pitchFamily="18" charset="0"/>
              </a:rPr>
              <a:t>снижения санкций для компаний, при наличии </a:t>
            </a:r>
            <a:r>
              <a:rPr lang="ru-RU" sz="1800" dirty="0" err="1" smtClean="0">
                <a:latin typeface="Cambria" panose="02040503050406030204" pitchFamily="18" charset="0"/>
              </a:rPr>
              <a:t>комлаенса</a:t>
            </a:r>
            <a:r>
              <a:rPr lang="ru-RU" sz="1800" dirty="0" smtClean="0">
                <a:latin typeface="Cambria" panose="02040503050406030204" pitchFamily="18" charset="0"/>
              </a:rPr>
              <a:t>: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mbria" panose="02040503050406030204" pitchFamily="18" charset="0"/>
              </a:rPr>
              <a:t>Великобритания, Франция  - на 10</a:t>
            </a:r>
            <a:r>
              <a:rPr lang="ru-RU" sz="1800" dirty="0">
                <a:latin typeface="Cambria" panose="02040503050406030204" pitchFamily="18" charset="0"/>
              </a:rPr>
              <a:t>%, </a:t>
            </a:r>
            <a:endParaRPr lang="ru-RU" sz="1800" dirty="0" smtClean="0">
              <a:latin typeface="Cambria" panose="02040503050406030204" pitchFamily="18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mbria" panose="02040503050406030204" pitchFamily="18" charset="0"/>
              </a:rPr>
              <a:t>Италия </a:t>
            </a:r>
            <a:r>
              <a:rPr lang="ru-RU" sz="1800" dirty="0">
                <a:latin typeface="Cambria" panose="02040503050406030204" pitchFamily="18" charset="0"/>
              </a:rPr>
              <a:t>— </a:t>
            </a:r>
            <a:r>
              <a:rPr lang="ru-RU" sz="1800" dirty="0" smtClean="0">
                <a:latin typeface="Cambria" panose="02040503050406030204" pitchFamily="18" charset="0"/>
              </a:rPr>
              <a:t>на 15%</a:t>
            </a:r>
          </a:p>
          <a:p>
            <a:pPr lvl="0"/>
            <a:endParaRPr lang="ru-RU" sz="1800" b="1" dirty="0" smtClean="0">
              <a:latin typeface="Cambria" panose="02040503050406030204" pitchFamily="18" charset="0"/>
            </a:endParaRPr>
          </a:p>
          <a:p>
            <a:pPr lvl="0"/>
            <a:r>
              <a:rPr lang="ru-RU" sz="1800" b="1" dirty="0" smtClean="0">
                <a:latin typeface="Cambria" panose="02040503050406030204" pitchFamily="18" charset="0"/>
              </a:rPr>
              <a:t>США </a:t>
            </a:r>
            <a:r>
              <a:rPr lang="ru-RU" sz="1800" b="1" dirty="0">
                <a:latin typeface="Cambria" panose="02040503050406030204" pitchFamily="18" charset="0"/>
              </a:rPr>
              <a:t>и ЕС </a:t>
            </a:r>
            <a:r>
              <a:rPr lang="ru-RU" sz="1800" dirty="0">
                <a:latin typeface="Cambria" panose="02040503050406030204" pitchFamily="18" charset="0"/>
              </a:rPr>
              <a:t>(Министерство юстиции США и Еврокомиссия</a:t>
            </a:r>
            <a:r>
              <a:rPr lang="ru-RU" sz="1800" dirty="0" smtClean="0">
                <a:latin typeface="Cambria" panose="02040503050406030204" pitchFamily="18" charset="0"/>
              </a:rPr>
              <a:t>)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mbria" panose="02040503050406030204" pitchFamily="18" charset="0"/>
              </a:rPr>
              <a:t>сознательно </a:t>
            </a:r>
            <a:r>
              <a:rPr lang="ru-RU" sz="1800" i="1" dirty="0">
                <a:latin typeface="Cambria" panose="02040503050406030204" pitchFamily="18" charset="0"/>
              </a:rPr>
              <a:t>отказались </a:t>
            </a:r>
            <a:r>
              <a:rPr lang="ru-RU" sz="1800" dirty="0">
                <a:latin typeface="Cambria" panose="02040503050406030204" pitchFamily="18" charset="0"/>
              </a:rPr>
              <a:t>от использования антимонопольного </a:t>
            </a:r>
            <a:r>
              <a:rPr lang="ru-RU" sz="1800" dirty="0" err="1">
                <a:latin typeface="Cambria" panose="02040503050406030204" pitchFamily="18" charset="0"/>
              </a:rPr>
              <a:t>комплаенса</a:t>
            </a:r>
            <a:r>
              <a:rPr lang="ru-RU" sz="1800" dirty="0">
                <a:latin typeface="Cambria" panose="02040503050406030204" pitchFamily="18" charset="0"/>
              </a:rPr>
              <a:t> в качестве основания для снижения размера </a:t>
            </a:r>
            <a:r>
              <a:rPr lang="ru-RU" sz="1800" dirty="0" smtClean="0">
                <a:latin typeface="Cambria" panose="02040503050406030204" pitchFamily="18" charset="0"/>
              </a:rPr>
              <a:t>штрафов</a:t>
            </a:r>
          </a:p>
          <a:p>
            <a:pPr lvl="0"/>
            <a:endParaRPr lang="ru-RU" sz="1800" dirty="0" smtClean="0">
              <a:latin typeface="Cambria" panose="02040503050406030204" pitchFamily="18" charset="0"/>
            </a:endParaRPr>
          </a:p>
          <a:p>
            <a:pPr lvl="0"/>
            <a:r>
              <a:rPr lang="ru-RU" sz="1800" dirty="0">
                <a:latin typeface="Cambria" panose="02040503050406030204" pitchFamily="18" charset="0"/>
              </a:rPr>
              <a:t>В рамках разбирательств решение остается преимущественно </a:t>
            </a:r>
            <a:r>
              <a:rPr lang="ru-RU" sz="1800" b="1" dirty="0">
                <a:latin typeface="Cambria" panose="02040503050406030204" pitchFamily="18" charset="0"/>
              </a:rPr>
              <a:t>дискреционным решением антимонопольного ведомства. </a:t>
            </a:r>
          </a:p>
          <a:p>
            <a:pPr lvl="0"/>
            <a:endParaRPr lang="ru-RU" sz="1800" dirty="0" smtClean="0">
              <a:latin typeface="Cambria" panose="02040503050406030204" pitchFamily="18" charset="0"/>
            </a:endParaRPr>
          </a:p>
          <a:p>
            <a:pPr lvl="0"/>
            <a:r>
              <a:rPr lang="ru-RU" sz="1600" i="1" dirty="0" smtClean="0">
                <a:latin typeface="Cambria" panose="02040503050406030204" pitchFamily="18" charset="0"/>
              </a:rPr>
              <a:t>Акты </a:t>
            </a:r>
            <a:r>
              <a:rPr lang="ru-RU" sz="1600" i="1" dirty="0">
                <a:latin typeface="Cambria" panose="02040503050406030204" pitchFamily="18" charset="0"/>
              </a:rPr>
              <a:t>относительно антимонопольного </a:t>
            </a:r>
            <a:r>
              <a:rPr lang="ru-RU" sz="1600" i="1" dirty="0" err="1">
                <a:latin typeface="Cambria" panose="02040503050406030204" pitchFamily="18" charset="0"/>
              </a:rPr>
              <a:t>комплаенса</a:t>
            </a:r>
            <a:r>
              <a:rPr lang="ru-RU" sz="1600" i="1" dirty="0">
                <a:latin typeface="Cambria" panose="02040503050406030204" pitchFamily="18" charset="0"/>
              </a:rPr>
              <a:t>, </a:t>
            </a:r>
            <a:r>
              <a:rPr lang="ru-RU" sz="1600" i="1" dirty="0" smtClean="0">
                <a:latin typeface="Cambria" panose="02040503050406030204" pitchFamily="18" charset="0"/>
              </a:rPr>
              <a:t>разработанные национальные антимонопольными ведомствами, носят преимущественно информационный и рекомендательный характер.</a:t>
            </a:r>
          </a:p>
          <a:p>
            <a:pPr lvl="0"/>
            <a:endParaRPr lang="ru-RU" sz="1800" dirty="0" smtClean="0">
              <a:latin typeface="Cambria" panose="020405030504060302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9000" contrast="1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1075207"/>
            <a:ext cx="2776490" cy="196363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70" r="8816"/>
          <a:stretch/>
        </p:blipFill>
        <p:spPr>
          <a:xfrm>
            <a:off x="6372200" y="3088875"/>
            <a:ext cx="2661779" cy="197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51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Антикомплаенс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08510" y="785612"/>
            <a:ext cx="9258063" cy="5998150"/>
          </a:xfrm>
        </p:spPr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В ходе проведения проверок при осмотре жёсткого диска компании ООО </a:t>
            </a:r>
            <a:r>
              <a:rPr lang="ru-RU" b="1" dirty="0" smtClean="0">
                <a:solidFill>
                  <a:srgbClr val="C00000"/>
                </a:solidFill>
              </a:rPr>
              <a:t>«,,,,,,,,,,» </a:t>
            </a:r>
            <a:r>
              <a:rPr lang="ru-RU" b="1" dirty="0">
                <a:solidFill>
                  <a:srgbClr val="C00000"/>
                </a:solidFill>
              </a:rPr>
              <a:t>был обнаружен файл, который, вероятно, используется при проведении обучения сотрудников компании.</a:t>
            </a:r>
          </a:p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CD0E477-84E7-4610-953B-74E0DE15F3DA}" type="slidenum">
              <a:rPr lang="ru-RU" smtClean="0"/>
              <a:pPr/>
              <a:t>8</a:t>
            </a:fld>
            <a:endParaRPr lang="ru-RU" sz="14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2118" y="1515545"/>
            <a:ext cx="7956376" cy="168630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5088" y="3312905"/>
            <a:ext cx="8208912" cy="2371725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336698" y="5618085"/>
            <a:ext cx="92580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C00000"/>
                </a:solidFill>
              </a:rPr>
              <a:t>Очевидно, что обучение сотрудников направлено на получение знания о «российских реалиях» ведения бизнеса, а именно на необходимость развития личных контактов между покупателями (заказчиками) и продавцами. В тексте документа отмечается важность «откатов» для нормального ведения бизнеса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961843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517177" y="737810"/>
            <a:ext cx="597331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900" dirty="0">
              <a:solidFill>
                <a:schemeClr val="accent1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517177" y="635445"/>
            <a:ext cx="6725287" cy="2363787"/>
          </a:xfrm>
        </p:spPr>
        <p:txBody>
          <a:bodyPr/>
          <a:lstStyle/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6262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AKOPX7LEKs16yMB_xD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AKOPX7LEKs16yMB_xD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Custom 13">
      <a:dk1>
        <a:sysClr val="windowText" lastClr="000000"/>
      </a:dk1>
      <a:lt1>
        <a:sysClr val="window" lastClr="FFFFFF"/>
      </a:lt1>
      <a:dk2>
        <a:srgbClr val="616365"/>
      </a:dk2>
      <a:lt2>
        <a:srgbClr val="FFFFFF"/>
      </a:lt2>
      <a:accent1>
        <a:srgbClr val="00985F"/>
      </a:accent1>
      <a:accent2>
        <a:srgbClr val="57068C"/>
      </a:accent2>
      <a:accent3>
        <a:srgbClr val="C0C2C4"/>
      </a:accent3>
      <a:accent4>
        <a:srgbClr val="00B380"/>
      </a:accent4>
      <a:accent5>
        <a:srgbClr val="7151A1"/>
      </a:accent5>
      <a:accent6>
        <a:srgbClr val="64C29B"/>
      </a:accent6>
      <a:hlink>
        <a:srgbClr val="A3A5A8"/>
      </a:hlink>
      <a:folHlink>
        <a:srgbClr val="B4B4B9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107287" tIns="53643" rIns="107287" bIns="53643" rtlCol="0">
        <a:normAutofit/>
      </a:bodyPr>
      <a:lstStyle>
        <a:defPPr marL="0" indent="0">
          <a:lnSpc>
            <a:spcPct val="110000"/>
          </a:lnSpc>
          <a:buFont typeface="Arial" panose="020B0604020202020204" pitchFamily="34" charset="0"/>
          <a:buNone/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3_mf">
  <a:themeElements>
    <a:clrScheme name="Другая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9194C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07</TotalTime>
  <Words>589</Words>
  <Application>Microsoft Office PowerPoint</Application>
  <PresentationFormat>Лист A4 (210x297 мм)</PresentationFormat>
  <Paragraphs>71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9" baseType="lpstr">
      <vt:lpstr>Arial</vt:lpstr>
      <vt:lpstr>Arial Narrow</vt:lpstr>
      <vt:lpstr>Calibri</vt:lpstr>
      <vt:lpstr>Cambria</vt:lpstr>
      <vt:lpstr>Courier New</vt:lpstr>
      <vt:lpstr>Verdana</vt:lpstr>
      <vt:lpstr>Wingdings</vt:lpstr>
      <vt:lpstr>3_Тема Office</vt:lpstr>
      <vt:lpstr>3_mf</vt:lpstr>
      <vt:lpstr>think-cell Slide</vt:lpstr>
      <vt:lpstr>  </vt:lpstr>
      <vt:lpstr>Цели внедрения комплаенс в организации</vt:lpstr>
      <vt:lpstr>Опыт внедрения комплаенс в ПАО «МегаФон»</vt:lpstr>
      <vt:lpstr>Снижение ответственности при внедрении комплаенс</vt:lpstr>
      <vt:lpstr>Снижение ответственности при внедрении комплаенс</vt:lpstr>
      <vt:lpstr>Комплаенс в антимонопольном законодательстве</vt:lpstr>
      <vt:lpstr>Зарубежный опыт</vt:lpstr>
      <vt:lpstr>Антикомплаенс</vt:lpstr>
      <vt:lpstr>Спасибо за внимание</vt:lpstr>
    </vt:vector>
  </TitlesOfParts>
  <Company>MegaF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avin Alexey</dc:creator>
  <cp:lastModifiedBy>Vadim Kuzmin (HQ)</cp:lastModifiedBy>
  <cp:revision>721</cp:revision>
  <cp:lastPrinted>2018-08-28T14:25:34Z</cp:lastPrinted>
  <dcterms:created xsi:type="dcterms:W3CDTF">2014-01-17T07:16:58Z</dcterms:created>
  <dcterms:modified xsi:type="dcterms:W3CDTF">2018-08-28T14:26:22Z</dcterms:modified>
</cp:coreProperties>
</file>